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42" r:id="rId4"/>
  </p:sldMasterIdLst>
  <p:notesMasterIdLst>
    <p:notesMasterId r:id="rId13"/>
  </p:notesMasterIdLst>
  <p:handoutMasterIdLst>
    <p:handoutMasterId r:id="rId14"/>
  </p:handoutMasterIdLst>
  <p:sldIdLst>
    <p:sldId id="435" r:id="rId5"/>
    <p:sldId id="485" r:id="rId6"/>
    <p:sldId id="477" r:id="rId7"/>
    <p:sldId id="670" r:id="rId8"/>
    <p:sldId id="650" r:id="rId9"/>
    <p:sldId id="674" r:id="rId10"/>
    <p:sldId id="667" r:id="rId11"/>
    <p:sldId id="652" r:id="rId12"/>
  </p:sldIdLst>
  <p:sldSz cx="12192000" cy="6858000"/>
  <p:notesSz cx="7010400" cy="9296400"/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FBEC30B-8F6F-450A-AF6A-940B2200EBD8}">
          <p14:sldIdLst>
            <p14:sldId id="435"/>
            <p14:sldId id="485"/>
            <p14:sldId id="477"/>
            <p14:sldId id="670"/>
            <p14:sldId id="650"/>
            <p14:sldId id="674"/>
            <p14:sldId id="667"/>
            <p14:sldId id="65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9" userDrawn="1">
          <p15:clr>
            <a:srgbClr val="A4A3A4"/>
          </p15:clr>
        </p15:guide>
        <p15:guide id="2" pos="2209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3BD7E80-79BB-C07C-0607-A5EC2F05563B}" name="katie.freer@la.gov" initials="ka" userId="S::katie.freer_la.gov#ext#@sprintcloud1001092.onmicrosoft.com::4bbf2aad-bf49-45bc-a5ef-553704949c30" providerId="AD"/>
  <p188:author id="{B2FF75A9-D861-D321-8A63-2D55DD62E0BB}" name="Arpit Agarwal" initials="AA" userId="S::Arpit.Agarwal@mottmac.com::190264e2-9e11-4274-9afb-c7e6c93a997d" providerId="AD"/>
  <p188:author id="{84B107C7-BF70-6B1B-370C-4B73C2F417C3}" name="Leah Selcer" initials="LS" userId="S::leah.selcer@neel-schaffer.com::ddebd5d7-5623-455e-9bcd-00ca1c79169d" providerId="AD"/>
  <p188:author id="{EB205DC8-8B16-61BE-E542-DB503D58E9BA}" name="Craig Harter" initials="CH" userId="S::Craig.Harter@mottmac.com::1b6377e4-e316-49bf-84a9-68463448d708" providerId="AD"/>
  <p188:author id="{1869B8E2-D17D-41F9-C509-AB3F381FD2DD}" name="Glenn Ledet" initials="GL" userId="S::glenn.ledet@neel-schaffer.com::872112e3-5206-4e32-a1d1-17892283609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ie Freer" initials="KF" lastIdx="10" clrIdx="0">
    <p:extLst>
      <p:ext uri="{19B8F6BF-5375-455C-9EA6-DF929625EA0E}">
        <p15:presenceInfo xmlns:p15="http://schemas.microsoft.com/office/powerpoint/2012/main" userId="S-1-5-21-225197963-1505887564-312552118-23988" providerId="AD"/>
      </p:ext>
    </p:extLst>
  </p:cmAuthor>
  <p:cmAuthor id="2" name="Glenn Ledet" initials="GL" lastIdx="3" clrIdx="1">
    <p:extLst>
      <p:ext uri="{19B8F6BF-5375-455C-9EA6-DF929625EA0E}">
        <p15:presenceInfo xmlns:p15="http://schemas.microsoft.com/office/powerpoint/2012/main" userId="S::glenn.ledet@neel-schaffer.com::872112e3-5206-4e32-a1d1-17892283609b" providerId="AD"/>
      </p:ext>
    </p:extLst>
  </p:cmAuthor>
  <p:cmAuthor id="3" name="Katie Freer" initials="KF [2]" lastIdx="2" clrIdx="2">
    <p:extLst>
      <p:ext uri="{19B8F6BF-5375-455C-9EA6-DF929625EA0E}">
        <p15:presenceInfo xmlns:p15="http://schemas.microsoft.com/office/powerpoint/2012/main" userId="S-1-5-21-879169590-2894304047-4147668844-6605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DCE9"/>
    <a:srgbClr val="CB0000"/>
    <a:srgbClr val="F05625"/>
    <a:srgbClr val="FF2841"/>
    <a:srgbClr val="310FB6"/>
    <a:srgbClr val="A7A0D1"/>
    <a:srgbClr val="8373D4"/>
    <a:srgbClr val="BCCC81"/>
    <a:srgbClr val="FFFF80"/>
    <a:srgbClr val="B7B7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C73E34-38F9-A411-432F-5D469BC13178}" v="2" dt="2022-12-14T15:26:57.416"/>
    <p1510:client id="{15BD67A1-9107-224F-5687-FDA9D5FACBC3}" v="5" dt="2022-12-14T16:59:35.810"/>
    <p1510:client id="{70CA646F-F4BA-CF06-E5C4-3E0FF8EBB028}" v="48" dt="2022-12-14T20:27:53.635"/>
    <p1510:client id="{7152A334-8232-39A1-101C-CB60A14D8620}" v="1" dt="2022-12-15T00:19:35.093"/>
    <p1510:client id="{85E8499B-E654-948D-F5B2-94B20DB78AF6}" v="28" dt="2022-12-14T14:59:03.322"/>
    <p1510:client id="{870F73E5-8B1F-4EBC-BB3D-AC1D48A0A8F9}" v="532" dt="2022-12-15T13:53:20.995"/>
    <p1510:client id="{895BBDA5-BE18-CEA5-74AC-35E4168F4010}" v="1" dt="2022-12-14T22:44:33.367"/>
    <p1510:client id="{A4D955A2-8EEA-7620-33DC-FDE0B8F18857}" v="7" dt="2022-12-14T16:24:59.068"/>
    <p1510:client id="{AEBB4141-DB96-C390-63E7-6CBE835FA6C7}" v="420" dt="2022-12-15T13:49:35.925"/>
    <p1510:client id="{CD32B789-C8D9-1F51-1AD2-32B43711428B}" v="55" dt="2022-12-14T19:43:55.33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834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29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109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10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07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t.melton@la.gov" userId="S::matt.melton_la.gov#ext#@sprintcloud1001092.onmicrosoft.com::65c077c6-509d-48d9-a568-0ec986a1d2f1" providerId="AD" clId="Web-{02C73E34-38F9-A411-432F-5D469BC13178}"/>
    <pc:docChg chg="addSld delSld modSld modSection">
      <pc:chgData name="matt.melton@la.gov" userId="S::matt.melton_la.gov#ext#@sprintcloud1001092.onmicrosoft.com::65c077c6-509d-48d9-a568-0ec986a1d2f1" providerId="AD" clId="Web-{02C73E34-38F9-A411-432F-5D469BC13178}" dt="2022-12-14T15:26:57.416" v="16"/>
      <pc:docMkLst>
        <pc:docMk/>
      </pc:docMkLst>
      <pc:sldChg chg="modNotes">
        <pc:chgData name="matt.melton@la.gov" userId="S::matt.melton_la.gov#ext#@sprintcloud1001092.onmicrosoft.com::65c077c6-509d-48d9-a568-0ec986a1d2f1" providerId="AD" clId="Web-{02C73E34-38F9-A411-432F-5D469BC13178}" dt="2022-12-14T15:25:38.007" v="14"/>
        <pc:sldMkLst>
          <pc:docMk/>
          <pc:sldMk cId="589566122" sldId="491"/>
        </pc:sldMkLst>
      </pc:sldChg>
      <pc:sldChg chg="new del">
        <pc:chgData name="matt.melton@la.gov" userId="S::matt.melton_la.gov#ext#@sprintcloud1001092.onmicrosoft.com::65c077c6-509d-48d9-a568-0ec986a1d2f1" providerId="AD" clId="Web-{02C73E34-38F9-A411-432F-5D469BC13178}" dt="2022-12-14T15:26:57.416" v="16"/>
        <pc:sldMkLst>
          <pc:docMk/>
          <pc:sldMk cId="1633411655" sldId="649"/>
        </pc:sldMkLst>
      </pc:sldChg>
    </pc:docChg>
  </pc:docChgLst>
  <pc:docChgLst>
    <pc:chgData name="katie.freer@la.gov" userId="S::katie.freer_la.gov#ext#@sprintcloud1001092.onmicrosoft.com::4bbf2aad-bf49-45bc-a5ef-553704949c30" providerId="AD" clId="Web-{55F9805C-3238-4CC2-E338-39A3C6B0E951}"/>
    <pc:docChg chg="modSld">
      <pc:chgData name="katie.freer@la.gov" userId="S::katie.freer_la.gov#ext#@sprintcloud1001092.onmicrosoft.com::4bbf2aad-bf49-45bc-a5ef-553704949c30" providerId="AD" clId="Web-{55F9805C-3238-4CC2-E338-39A3C6B0E951}" dt="2022-12-09T19:04:13.428" v="397" actId="20577"/>
      <pc:docMkLst>
        <pc:docMk/>
      </pc:docMkLst>
      <pc:sldChg chg="modSp">
        <pc:chgData name="katie.freer@la.gov" userId="S::katie.freer_la.gov#ext#@sprintcloud1001092.onmicrosoft.com::4bbf2aad-bf49-45bc-a5ef-553704949c30" providerId="AD" clId="Web-{55F9805C-3238-4CC2-E338-39A3C6B0E951}" dt="2022-12-08T21:45:31.828" v="394" actId="20577"/>
        <pc:sldMkLst>
          <pc:docMk/>
          <pc:sldMk cId="916288481" sldId="477"/>
        </pc:sldMkLst>
        <pc:spChg chg="mod">
          <ac:chgData name="katie.freer@la.gov" userId="S::katie.freer_la.gov#ext#@sprintcloud1001092.onmicrosoft.com::4bbf2aad-bf49-45bc-a5ef-553704949c30" providerId="AD" clId="Web-{55F9805C-3238-4CC2-E338-39A3C6B0E951}" dt="2022-12-08T21:45:31.828" v="394" actId="20577"/>
          <ac:spMkLst>
            <pc:docMk/>
            <pc:sldMk cId="916288481" sldId="477"/>
            <ac:spMk id="3" creationId="{09A1F398-0840-0140-83CE-A611DB97F3EF}"/>
          </ac:spMkLst>
        </pc:spChg>
      </pc:sldChg>
      <pc:sldChg chg="modSp">
        <pc:chgData name="katie.freer@la.gov" userId="S::katie.freer_la.gov#ext#@sprintcloud1001092.onmicrosoft.com::4bbf2aad-bf49-45bc-a5ef-553704949c30" providerId="AD" clId="Web-{55F9805C-3238-4CC2-E338-39A3C6B0E951}" dt="2022-12-08T13:46:33.457" v="9" actId="20577"/>
        <pc:sldMkLst>
          <pc:docMk/>
          <pc:sldMk cId="589566122" sldId="491"/>
        </pc:sldMkLst>
        <pc:spChg chg="mod">
          <ac:chgData name="katie.freer@la.gov" userId="S::katie.freer_la.gov#ext#@sprintcloud1001092.onmicrosoft.com::4bbf2aad-bf49-45bc-a5ef-553704949c30" providerId="AD" clId="Web-{55F9805C-3238-4CC2-E338-39A3C6B0E951}" dt="2022-12-08T13:46:33.457" v="9" actId="20577"/>
          <ac:spMkLst>
            <pc:docMk/>
            <pc:sldMk cId="589566122" sldId="491"/>
            <ac:spMk id="3" creationId="{09A1F398-0840-0140-83CE-A611DB97F3EF}"/>
          </ac:spMkLst>
        </pc:spChg>
      </pc:sldChg>
      <pc:sldChg chg="modSp">
        <pc:chgData name="katie.freer@la.gov" userId="S::katie.freer_la.gov#ext#@sprintcloud1001092.onmicrosoft.com::4bbf2aad-bf49-45bc-a5ef-553704949c30" providerId="AD" clId="Web-{55F9805C-3238-4CC2-E338-39A3C6B0E951}" dt="2022-12-08T14:31:44.834" v="188" actId="20577"/>
        <pc:sldMkLst>
          <pc:docMk/>
          <pc:sldMk cId="3588205094" sldId="518"/>
        </pc:sldMkLst>
        <pc:spChg chg="mod">
          <ac:chgData name="katie.freer@la.gov" userId="S::katie.freer_la.gov#ext#@sprintcloud1001092.onmicrosoft.com::4bbf2aad-bf49-45bc-a5ef-553704949c30" providerId="AD" clId="Web-{55F9805C-3238-4CC2-E338-39A3C6B0E951}" dt="2022-12-08T14:31:44.834" v="188" actId="20577"/>
          <ac:spMkLst>
            <pc:docMk/>
            <pc:sldMk cId="3588205094" sldId="518"/>
            <ac:spMk id="9" creationId="{B566E9BE-A6CD-4763-8279-1F43C3515B03}"/>
          </ac:spMkLst>
        </pc:spChg>
      </pc:sldChg>
      <pc:sldChg chg="modSp">
        <pc:chgData name="katie.freer@la.gov" userId="S::katie.freer_la.gov#ext#@sprintcloud1001092.onmicrosoft.com::4bbf2aad-bf49-45bc-a5ef-553704949c30" providerId="AD" clId="Web-{55F9805C-3238-4CC2-E338-39A3C6B0E951}" dt="2022-12-09T19:04:13.428" v="397" actId="20577"/>
        <pc:sldMkLst>
          <pc:docMk/>
          <pc:sldMk cId="82294556" sldId="566"/>
        </pc:sldMkLst>
        <pc:graphicFrameChg chg="modGraphic">
          <ac:chgData name="katie.freer@la.gov" userId="S::katie.freer_la.gov#ext#@sprintcloud1001092.onmicrosoft.com::4bbf2aad-bf49-45bc-a5ef-553704949c30" providerId="AD" clId="Web-{55F9805C-3238-4CC2-E338-39A3C6B0E951}" dt="2022-12-09T19:04:13.428" v="397" actId="20577"/>
          <ac:graphicFrameMkLst>
            <pc:docMk/>
            <pc:sldMk cId="82294556" sldId="566"/>
            <ac:graphicFrameMk id="5" creationId="{91AD16D8-B6E8-07A8-6149-2BC562CF6074}"/>
          </ac:graphicFrameMkLst>
        </pc:graphicFrameChg>
      </pc:sldChg>
      <pc:sldChg chg="modSp">
        <pc:chgData name="katie.freer@la.gov" userId="S::katie.freer_la.gov#ext#@sprintcloud1001092.onmicrosoft.com::4bbf2aad-bf49-45bc-a5ef-553704949c30" providerId="AD" clId="Web-{55F9805C-3238-4CC2-E338-39A3C6B0E951}" dt="2022-12-08T14:46:17.381" v="238" actId="20577"/>
        <pc:sldMkLst>
          <pc:docMk/>
          <pc:sldMk cId="4242302343" sldId="589"/>
        </pc:sldMkLst>
        <pc:spChg chg="mod">
          <ac:chgData name="katie.freer@la.gov" userId="S::katie.freer_la.gov#ext#@sprintcloud1001092.onmicrosoft.com::4bbf2aad-bf49-45bc-a5ef-553704949c30" providerId="AD" clId="Web-{55F9805C-3238-4CC2-E338-39A3C6B0E951}" dt="2022-12-08T14:33:30.838" v="197" actId="20577"/>
          <ac:spMkLst>
            <pc:docMk/>
            <pc:sldMk cId="4242302343" sldId="589"/>
            <ac:spMk id="2" creationId="{F9243B66-F148-E939-5989-6CE243B9F2BE}"/>
          </ac:spMkLst>
        </pc:spChg>
        <pc:spChg chg="mod">
          <ac:chgData name="katie.freer@la.gov" userId="S::katie.freer_la.gov#ext#@sprintcloud1001092.onmicrosoft.com::4bbf2aad-bf49-45bc-a5ef-553704949c30" providerId="AD" clId="Web-{55F9805C-3238-4CC2-E338-39A3C6B0E951}" dt="2022-12-08T14:46:17.381" v="238" actId="20577"/>
          <ac:spMkLst>
            <pc:docMk/>
            <pc:sldMk cId="4242302343" sldId="589"/>
            <ac:spMk id="9" creationId="{CA44B0C4-EEFD-BBD7-8198-3C2020D79614}"/>
          </ac:spMkLst>
        </pc:spChg>
      </pc:sldChg>
      <pc:sldChg chg="modSp">
        <pc:chgData name="katie.freer@la.gov" userId="S::katie.freer_la.gov#ext#@sprintcloud1001092.onmicrosoft.com::4bbf2aad-bf49-45bc-a5ef-553704949c30" providerId="AD" clId="Web-{55F9805C-3238-4CC2-E338-39A3C6B0E951}" dt="2022-12-08T16:49:28.461" v="361" actId="20577"/>
        <pc:sldMkLst>
          <pc:docMk/>
          <pc:sldMk cId="4216336834" sldId="603"/>
        </pc:sldMkLst>
        <pc:spChg chg="mod">
          <ac:chgData name="katie.freer@la.gov" userId="S::katie.freer_la.gov#ext#@sprintcloud1001092.onmicrosoft.com::4bbf2aad-bf49-45bc-a5ef-553704949c30" providerId="AD" clId="Web-{55F9805C-3238-4CC2-E338-39A3C6B0E951}" dt="2022-12-08T16:49:28.461" v="361" actId="20577"/>
          <ac:spMkLst>
            <pc:docMk/>
            <pc:sldMk cId="4216336834" sldId="603"/>
            <ac:spMk id="2" creationId="{F7347354-9C9F-8428-057D-631E0AA4EB16}"/>
          </ac:spMkLst>
        </pc:spChg>
      </pc:sldChg>
      <pc:sldChg chg="modSp">
        <pc:chgData name="katie.freer@la.gov" userId="S::katie.freer_la.gov#ext#@sprintcloud1001092.onmicrosoft.com::4bbf2aad-bf49-45bc-a5ef-553704949c30" providerId="AD" clId="Web-{55F9805C-3238-4CC2-E338-39A3C6B0E951}" dt="2022-12-08T15:26:02.121" v="329"/>
        <pc:sldMkLst>
          <pc:docMk/>
          <pc:sldMk cId="470351898" sldId="614"/>
        </pc:sldMkLst>
        <pc:spChg chg="mod">
          <ac:chgData name="katie.freer@la.gov" userId="S::katie.freer_la.gov#ext#@sprintcloud1001092.onmicrosoft.com::4bbf2aad-bf49-45bc-a5ef-553704949c30" providerId="AD" clId="Web-{55F9805C-3238-4CC2-E338-39A3C6B0E951}" dt="2022-12-08T14:51:54.596" v="281" actId="14100"/>
          <ac:spMkLst>
            <pc:docMk/>
            <pc:sldMk cId="470351898" sldId="614"/>
            <ac:spMk id="12" creationId="{48F37892-5511-499B-8B26-DB9E8D046D48}"/>
          </ac:spMkLst>
        </pc:spChg>
        <pc:graphicFrameChg chg="mod modGraphic">
          <ac:chgData name="katie.freer@la.gov" userId="S::katie.freer_la.gov#ext#@sprintcloud1001092.onmicrosoft.com::4bbf2aad-bf49-45bc-a5ef-553704949c30" providerId="AD" clId="Web-{55F9805C-3238-4CC2-E338-39A3C6B0E951}" dt="2022-12-08T15:26:02.121" v="329"/>
          <ac:graphicFrameMkLst>
            <pc:docMk/>
            <pc:sldMk cId="470351898" sldId="614"/>
            <ac:graphicFrameMk id="7" creationId="{BBBA6C76-522D-015F-7F8D-89688DB3ECD0}"/>
          </ac:graphicFrameMkLst>
        </pc:graphicFrameChg>
      </pc:sldChg>
      <pc:sldChg chg="modSp addCm delCm modCm">
        <pc:chgData name="katie.freer@la.gov" userId="S::katie.freer_la.gov#ext#@sprintcloud1001092.onmicrosoft.com::4bbf2aad-bf49-45bc-a5ef-553704949c30" providerId="AD" clId="Web-{55F9805C-3238-4CC2-E338-39A3C6B0E951}" dt="2022-12-08T21:37:27.221" v="388"/>
        <pc:sldMkLst>
          <pc:docMk/>
          <pc:sldMk cId="2476424142" sldId="617"/>
        </pc:sldMkLst>
        <pc:spChg chg="mod">
          <ac:chgData name="katie.freer@la.gov" userId="S::katie.freer_la.gov#ext#@sprintcloud1001092.onmicrosoft.com::4bbf2aad-bf49-45bc-a5ef-553704949c30" providerId="AD" clId="Web-{55F9805C-3238-4CC2-E338-39A3C6B0E951}" dt="2022-12-08T21:37:27.143" v="387" actId="20577"/>
          <ac:spMkLst>
            <pc:docMk/>
            <pc:sldMk cId="2476424142" sldId="617"/>
            <ac:spMk id="12" creationId="{48F37892-5511-499B-8B26-DB9E8D046D48}"/>
          </ac:spMkLst>
        </pc:spChg>
      </pc:sldChg>
      <pc:sldChg chg="modSp">
        <pc:chgData name="katie.freer@la.gov" userId="S::katie.freer_la.gov#ext#@sprintcloud1001092.onmicrosoft.com::4bbf2aad-bf49-45bc-a5ef-553704949c30" providerId="AD" clId="Web-{55F9805C-3238-4CC2-E338-39A3C6B0E951}" dt="2022-12-08T14:13:37.499" v="105"/>
        <pc:sldMkLst>
          <pc:docMk/>
          <pc:sldMk cId="2829496633" sldId="620"/>
        </pc:sldMkLst>
        <pc:graphicFrameChg chg="mod modGraphic">
          <ac:chgData name="katie.freer@la.gov" userId="S::katie.freer_la.gov#ext#@sprintcloud1001092.onmicrosoft.com::4bbf2aad-bf49-45bc-a5ef-553704949c30" providerId="AD" clId="Web-{55F9805C-3238-4CC2-E338-39A3C6B0E951}" dt="2022-12-08T14:13:37.499" v="105"/>
          <ac:graphicFrameMkLst>
            <pc:docMk/>
            <pc:sldMk cId="2829496633" sldId="620"/>
            <ac:graphicFrameMk id="5" creationId="{45DC8894-4D67-A9B1-5747-4FCA4E023E80}"/>
          </ac:graphicFrameMkLst>
        </pc:graphicFrameChg>
      </pc:sldChg>
      <pc:sldChg chg="modSp">
        <pc:chgData name="katie.freer@la.gov" userId="S::katie.freer_la.gov#ext#@sprintcloud1001092.onmicrosoft.com::4bbf2aad-bf49-45bc-a5ef-553704949c30" providerId="AD" clId="Web-{55F9805C-3238-4CC2-E338-39A3C6B0E951}" dt="2022-12-08T15:26:37.591" v="332" actId="20577"/>
        <pc:sldMkLst>
          <pc:docMk/>
          <pc:sldMk cId="3102114941" sldId="621"/>
        </pc:sldMkLst>
        <pc:spChg chg="mod">
          <ac:chgData name="katie.freer@la.gov" userId="S::katie.freer_la.gov#ext#@sprintcloud1001092.onmicrosoft.com::4bbf2aad-bf49-45bc-a5ef-553704949c30" providerId="AD" clId="Web-{55F9805C-3238-4CC2-E338-39A3C6B0E951}" dt="2022-12-08T15:26:37.591" v="332" actId="20577"/>
          <ac:spMkLst>
            <pc:docMk/>
            <pc:sldMk cId="3102114941" sldId="621"/>
            <ac:spMk id="12" creationId="{48F37892-5511-499B-8B26-DB9E8D046D48}"/>
          </ac:spMkLst>
        </pc:spChg>
        <pc:spChg chg="mod">
          <ac:chgData name="katie.freer@la.gov" userId="S::katie.freer_la.gov#ext#@sprintcloud1001092.onmicrosoft.com::4bbf2aad-bf49-45bc-a5ef-553704949c30" providerId="AD" clId="Web-{55F9805C-3238-4CC2-E338-39A3C6B0E951}" dt="2022-12-08T15:00:50.865" v="309" actId="1076"/>
          <ac:spMkLst>
            <pc:docMk/>
            <pc:sldMk cId="3102114941" sldId="621"/>
            <ac:spMk id="15" creationId="{379A18BF-BA7D-2520-7735-309F56607222}"/>
          </ac:spMkLst>
        </pc:spChg>
      </pc:sldChg>
      <pc:sldChg chg="modSp addCm modCm">
        <pc:chgData name="katie.freer@la.gov" userId="S::katie.freer_la.gov#ext#@sprintcloud1001092.onmicrosoft.com::4bbf2aad-bf49-45bc-a5ef-553704949c30" providerId="AD" clId="Web-{55F9805C-3238-4CC2-E338-39A3C6B0E951}" dt="2022-12-08T15:24:59.260" v="325"/>
        <pc:sldMkLst>
          <pc:docMk/>
          <pc:sldMk cId="3398086154" sldId="627"/>
        </pc:sldMkLst>
        <pc:spChg chg="mod">
          <ac:chgData name="katie.freer@la.gov" userId="S::katie.freer_la.gov#ext#@sprintcloud1001092.onmicrosoft.com::4bbf2aad-bf49-45bc-a5ef-553704949c30" providerId="AD" clId="Web-{55F9805C-3238-4CC2-E338-39A3C6B0E951}" dt="2022-12-08T15:22:47.192" v="323" actId="20577"/>
          <ac:spMkLst>
            <pc:docMk/>
            <pc:sldMk cId="3398086154" sldId="627"/>
            <ac:spMk id="5" creationId="{A05D48A7-0F52-2C21-8950-0E6D9A9665B3}"/>
          </ac:spMkLst>
        </pc:spChg>
      </pc:sldChg>
      <pc:sldChg chg="modSp">
        <pc:chgData name="katie.freer@la.gov" userId="S::katie.freer_la.gov#ext#@sprintcloud1001092.onmicrosoft.com::4bbf2aad-bf49-45bc-a5ef-553704949c30" providerId="AD" clId="Web-{55F9805C-3238-4CC2-E338-39A3C6B0E951}" dt="2022-12-08T14:00:17.142" v="48" actId="20577"/>
        <pc:sldMkLst>
          <pc:docMk/>
          <pc:sldMk cId="3831277245" sldId="628"/>
        </pc:sldMkLst>
        <pc:spChg chg="mod">
          <ac:chgData name="katie.freer@la.gov" userId="S::katie.freer_la.gov#ext#@sprintcloud1001092.onmicrosoft.com::4bbf2aad-bf49-45bc-a5ef-553704949c30" providerId="AD" clId="Web-{55F9805C-3238-4CC2-E338-39A3C6B0E951}" dt="2022-12-08T14:00:17.142" v="48" actId="20577"/>
          <ac:spMkLst>
            <pc:docMk/>
            <pc:sldMk cId="3831277245" sldId="628"/>
            <ac:spMk id="3" creationId="{F2CA3F4A-B0C7-37CB-BDDD-6A959E428B1B}"/>
          </ac:spMkLst>
        </pc:spChg>
        <pc:spChg chg="mod">
          <ac:chgData name="katie.freer@la.gov" userId="S::katie.freer_la.gov#ext#@sprintcloud1001092.onmicrosoft.com::4bbf2aad-bf49-45bc-a5ef-553704949c30" providerId="AD" clId="Web-{55F9805C-3238-4CC2-E338-39A3C6B0E951}" dt="2022-12-08T13:59:23.125" v="43" actId="20577"/>
          <ac:spMkLst>
            <pc:docMk/>
            <pc:sldMk cId="3831277245" sldId="628"/>
            <ac:spMk id="12" creationId="{48F37892-5511-499B-8B26-DB9E8D046D48}"/>
          </ac:spMkLst>
        </pc:spChg>
      </pc:sldChg>
    </pc:docChg>
  </pc:docChgLst>
  <pc:docChgLst>
    <pc:chgData name="Leah Selcer" userId="S::leah.selcer@neel-schaffer.com::ddebd5d7-5623-455e-9bcd-00ca1c79169d" providerId="AD" clId="Web-{E70221DA-3BD6-1EA7-87F7-6867D745116E}"/>
    <pc:docChg chg="modSld">
      <pc:chgData name="Leah Selcer" userId="S::leah.selcer@neel-schaffer.com::ddebd5d7-5623-455e-9bcd-00ca1c79169d" providerId="AD" clId="Web-{E70221DA-3BD6-1EA7-87F7-6867D745116E}" dt="2022-12-12T22:42:08.482" v="11" actId="20577"/>
      <pc:docMkLst>
        <pc:docMk/>
      </pc:docMkLst>
      <pc:sldChg chg="modSp">
        <pc:chgData name="Leah Selcer" userId="S::leah.selcer@neel-schaffer.com::ddebd5d7-5623-455e-9bcd-00ca1c79169d" providerId="AD" clId="Web-{E70221DA-3BD6-1EA7-87F7-6867D745116E}" dt="2022-12-12T22:42:08.482" v="11" actId="20577"/>
        <pc:sldMkLst>
          <pc:docMk/>
          <pc:sldMk cId="3558309199" sldId="625"/>
        </pc:sldMkLst>
        <pc:spChg chg="mod">
          <ac:chgData name="Leah Selcer" userId="S::leah.selcer@neel-schaffer.com::ddebd5d7-5623-455e-9bcd-00ca1c79169d" providerId="AD" clId="Web-{E70221DA-3BD6-1EA7-87F7-6867D745116E}" dt="2022-12-12T22:42:08.482" v="11" actId="20577"/>
          <ac:spMkLst>
            <pc:docMk/>
            <pc:sldMk cId="3558309199" sldId="625"/>
            <ac:spMk id="7" creationId="{02BEB3C0-0385-6905-7C22-5DAE4A489947}"/>
          </ac:spMkLst>
        </pc:spChg>
      </pc:sldChg>
    </pc:docChg>
  </pc:docChgLst>
  <pc:docChgLst>
    <pc:chgData name="Leah Selcer" userId="S::leah.selcer@neel-schaffer.com::ddebd5d7-5623-455e-9bcd-00ca1c79169d" providerId="AD" clId="Web-{4CA98BE0-B717-90BD-72FA-F1A180ADB702}"/>
    <pc:docChg chg="modSld">
      <pc:chgData name="Leah Selcer" userId="S::leah.selcer@neel-schaffer.com::ddebd5d7-5623-455e-9bcd-00ca1c79169d" providerId="AD" clId="Web-{4CA98BE0-B717-90BD-72FA-F1A180ADB702}" dt="2022-12-13T18:41:56.093" v="26"/>
      <pc:docMkLst>
        <pc:docMk/>
      </pc:docMkLst>
      <pc:sldChg chg="addCm">
        <pc:chgData name="Leah Selcer" userId="S::leah.selcer@neel-schaffer.com::ddebd5d7-5623-455e-9bcd-00ca1c79169d" providerId="AD" clId="Web-{4CA98BE0-B717-90BD-72FA-F1A180ADB702}" dt="2022-12-13T18:41:56.093" v="26"/>
        <pc:sldMkLst>
          <pc:docMk/>
          <pc:sldMk cId="550164615" sldId="558"/>
        </pc:sldMkLst>
      </pc:sldChg>
      <pc:sldChg chg="addSp modSp">
        <pc:chgData name="Leah Selcer" userId="S::leah.selcer@neel-schaffer.com::ddebd5d7-5623-455e-9bcd-00ca1c79169d" providerId="AD" clId="Web-{4CA98BE0-B717-90BD-72FA-F1A180ADB702}" dt="2022-12-13T18:40:02.870" v="25" actId="14100"/>
        <pc:sldMkLst>
          <pc:docMk/>
          <pc:sldMk cId="1260594065" sldId="615"/>
        </pc:sldMkLst>
        <pc:spChg chg="add mod">
          <ac:chgData name="Leah Selcer" userId="S::leah.selcer@neel-schaffer.com::ddebd5d7-5623-455e-9bcd-00ca1c79169d" providerId="AD" clId="Web-{4CA98BE0-B717-90BD-72FA-F1A180ADB702}" dt="2022-12-13T18:40:02.870" v="25" actId="14100"/>
          <ac:spMkLst>
            <pc:docMk/>
            <pc:sldMk cId="1260594065" sldId="615"/>
            <ac:spMk id="6" creationId="{32EBC814-855D-433A-0C64-85F8E701C853}"/>
          </ac:spMkLst>
        </pc:spChg>
      </pc:sldChg>
    </pc:docChg>
  </pc:docChgLst>
  <pc:docChgLst>
    <pc:chgData name="Leah Selcer" userId="S::leah.selcer@neel-schaffer.com::ddebd5d7-5623-455e-9bcd-00ca1c79169d" providerId="AD" clId="Web-{629267E1-0E62-F868-E97F-CE8878508B5C}"/>
    <pc:docChg chg="modSld">
      <pc:chgData name="Leah Selcer" userId="S::leah.selcer@neel-schaffer.com::ddebd5d7-5623-455e-9bcd-00ca1c79169d" providerId="AD" clId="Web-{629267E1-0E62-F868-E97F-CE8878508B5C}" dt="2022-12-08T14:30:14.166" v="13" actId="14100"/>
      <pc:docMkLst>
        <pc:docMk/>
      </pc:docMkLst>
      <pc:sldChg chg="modSp">
        <pc:chgData name="Leah Selcer" userId="S::leah.selcer@neel-schaffer.com::ddebd5d7-5623-455e-9bcd-00ca1c79169d" providerId="AD" clId="Web-{629267E1-0E62-F868-E97F-CE8878508B5C}" dt="2022-12-08T14:30:14.166" v="13" actId="14100"/>
        <pc:sldMkLst>
          <pc:docMk/>
          <pc:sldMk cId="2476424142" sldId="617"/>
        </pc:sldMkLst>
        <pc:spChg chg="mod">
          <ac:chgData name="Leah Selcer" userId="S::leah.selcer@neel-schaffer.com::ddebd5d7-5623-455e-9bcd-00ca1c79169d" providerId="AD" clId="Web-{629267E1-0E62-F868-E97F-CE8878508B5C}" dt="2022-12-08T14:30:14.166" v="13" actId="14100"/>
          <ac:spMkLst>
            <pc:docMk/>
            <pc:sldMk cId="2476424142" sldId="617"/>
            <ac:spMk id="12" creationId="{48F37892-5511-499B-8B26-DB9E8D046D48}"/>
          </ac:spMkLst>
        </pc:spChg>
        <pc:picChg chg="mod">
          <ac:chgData name="Leah Selcer" userId="S::leah.selcer@neel-schaffer.com::ddebd5d7-5623-455e-9bcd-00ca1c79169d" providerId="AD" clId="Web-{629267E1-0E62-F868-E97F-CE8878508B5C}" dt="2022-12-08T14:30:09.462" v="12" actId="14100"/>
          <ac:picMkLst>
            <pc:docMk/>
            <pc:sldMk cId="2476424142" sldId="617"/>
            <ac:picMk id="5" creationId="{C455A034-6F91-BE66-F5FD-B245446A3E63}"/>
          </ac:picMkLst>
        </pc:picChg>
        <pc:picChg chg="mod">
          <ac:chgData name="Leah Selcer" userId="S::leah.selcer@neel-schaffer.com::ddebd5d7-5623-455e-9bcd-00ca1c79169d" providerId="AD" clId="Web-{629267E1-0E62-F868-E97F-CE8878508B5C}" dt="2022-12-08T14:30:05.868" v="11" actId="14100"/>
          <ac:picMkLst>
            <pc:docMk/>
            <pc:sldMk cId="2476424142" sldId="617"/>
            <ac:picMk id="7" creationId="{8B928DC8-963F-62A6-008A-63BACF3453CB}"/>
          </ac:picMkLst>
        </pc:picChg>
      </pc:sldChg>
    </pc:docChg>
  </pc:docChgLst>
  <pc:docChgLst>
    <pc:chgData name="Leah Selcer" userId="S::leah.selcer@neel-schaffer.com::ddebd5d7-5623-455e-9bcd-00ca1c79169d" providerId="AD" clId="Web-{F98CD086-591B-2053-4178-804635C5B830}"/>
    <pc:docChg chg="modSld">
      <pc:chgData name="Leah Selcer" userId="S::leah.selcer@neel-schaffer.com::ddebd5d7-5623-455e-9bcd-00ca1c79169d" providerId="AD" clId="Web-{F98CD086-591B-2053-4178-804635C5B830}" dt="2022-12-08T14:06:19.324" v="14" actId="1076"/>
      <pc:docMkLst>
        <pc:docMk/>
      </pc:docMkLst>
      <pc:sldChg chg="addSp delSp modSp">
        <pc:chgData name="Leah Selcer" userId="S::leah.selcer@neel-schaffer.com::ddebd5d7-5623-455e-9bcd-00ca1c79169d" providerId="AD" clId="Web-{F98CD086-591B-2053-4178-804635C5B830}" dt="2022-12-08T14:06:19.324" v="14" actId="1076"/>
        <pc:sldMkLst>
          <pc:docMk/>
          <pc:sldMk cId="1566969012" sldId="618"/>
        </pc:sldMkLst>
        <pc:spChg chg="del mod">
          <ac:chgData name="Leah Selcer" userId="S::leah.selcer@neel-schaffer.com::ddebd5d7-5623-455e-9bcd-00ca1c79169d" providerId="AD" clId="Web-{F98CD086-591B-2053-4178-804635C5B830}" dt="2022-12-08T14:03:50.177" v="2"/>
          <ac:spMkLst>
            <pc:docMk/>
            <pc:sldMk cId="1566969012" sldId="618"/>
            <ac:spMk id="4" creationId="{A66A3934-2E96-3D44-A037-11968A804F61}"/>
          </ac:spMkLst>
        </pc:spChg>
        <pc:picChg chg="del">
          <ac:chgData name="Leah Selcer" userId="S::leah.selcer@neel-schaffer.com::ddebd5d7-5623-455e-9bcd-00ca1c79169d" providerId="AD" clId="Web-{F98CD086-591B-2053-4178-804635C5B830}" dt="2022-12-08T14:03:50.677" v="3"/>
          <ac:picMkLst>
            <pc:docMk/>
            <pc:sldMk cId="1566969012" sldId="618"/>
            <ac:picMk id="5" creationId="{234A3574-A478-CFC5-6D9A-F4345DFFD441}"/>
          </ac:picMkLst>
        </pc:picChg>
        <pc:picChg chg="del">
          <ac:chgData name="Leah Selcer" userId="S::leah.selcer@neel-schaffer.com::ddebd5d7-5623-455e-9bcd-00ca1c79169d" providerId="AD" clId="Web-{F98CD086-591B-2053-4178-804635C5B830}" dt="2022-12-08T14:03:51.146" v="4"/>
          <ac:picMkLst>
            <pc:docMk/>
            <pc:sldMk cId="1566969012" sldId="618"/>
            <ac:picMk id="6" creationId="{D5D34482-A704-22E2-8DF5-C070A57CD947}"/>
          </ac:picMkLst>
        </pc:picChg>
        <pc:picChg chg="add mod">
          <ac:chgData name="Leah Selcer" userId="S::leah.selcer@neel-schaffer.com::ddebd5d7-5623-455e-9bcd-00ca1c79169d" providerId="AD" clId="Web-{F98CD086-591B-2053-4178-804635C5B830}" dt="2022-12-08T14:06:19.324" v="14" actId="1076"/>
          <ac:picMkLst>
            <pc:docMk/>
            <pc:sldMk cId="1566969012" sldId="618"/>
            <ac:picMk id="7" creationId="{F2CA40AF-1A3B-46E6-0B91-931F1B8085CD}"/>
          </ac:picMkLst>
        </pc:picChg>
      </pc:sldChg>
    </pc:docChg>
  </pc:docChgLst>
  <pc:docChgLst>
    <pc:chgData name="katie.freer@la.gov" userId="S::katie.freer_la.gov#ext#@sprintcloud1001092.onmicrosoft.com::4bbf2aad-bf49-45bc-a5ef-553704949c30" providerId="AD" clId="Web-{8720AAFE-F1C3-8CB4-771B-A1B2FB9E862C}"/>
    <pc:docChg chg="modSld">
      <pc:chgData name="katie.freer@la.gov" userId="S::katie.freer_la.gov#ext#@sprintcloud1001092.onmicrosoft.com::4bbf2aad-bf49-45bc-a5ef-553704949c30" providerId="AD" clId="Web-{8720AAFE-F1C3-8CB4-771B-A1B2FB9E862C}" dt="2022-12-14T01:01:34.746" v="95" actId="20577"/>
      <pc:docMkLst>
        <pc:docMk/>
      </pc:docMkLst>
      <pc:sldChg chg="modSp modCm">
        <pc:chgData name="katie.freer@la.gov" userId="S::katie.freer_la.gov#ext#@sprintcloud1001092.onmicrosoft.com::4bbf2aad-bf49-45bc-a5ef-553704949c30" providerId="AD" clId="Web-{8720AAFE-F1C3-8CB4-771B-A1B2FB9E862C}" dt="2022-12-14T01:01:34.746" v="95" actId="20577"/>
        <pc:sldMkLst>
          <pc:docMk/>
          <pc:sldMk cId="3934733957" sldId="590"/>
        </pc:sldMkLst>
        <pc:spChg chg="mod">
          <ac:chgData name="katie.freer@la.gov" userId="S::katie.freer_la.gov#ext#@sprintcloud1001092.onmicrosoft.com::4bbf2aad-bf49-45bc-a5ef-553704949c30" providerId="AD" clId="Web-{8720AAFE-F1C3-8CB4-771B-A1B2FB9E862C}" dt="2022-12-14T01:01:34.746" v="95" actId="20577"/>
          <ac:spMkLst>
            <pc:docMk/>
            <pc:sldMk cId="3934733957" sldId="590"/>
            <ac:spMk id="7" creationId="{14049432-A5B5-4D51-869A-D1C05FB2DB5E}"/>
          </ac:spMkLst>
        </pc:spChg>
      </pc:sldChg>
    </pc:docChg>
  </pc:docChgLst>
  <pc:docChgLst>
    <pc:chgData name="Leah Selcer" userId="S::leah.selcer@neel-schaffer.com::ddebd5d7-5623-455e-9bcd-00ca1c79169d" providerId="AD" clId="Web-{5258DD45-EF35-0FB7-0F86-8DC2000D503E}"/>
    <pc:docChg chg="">
      <pc:chgData name="Leah Selcer" userId="S::leah.selcer@neel-schaffer.com::ddebd5d7-5623-455e-9bcd-00ca1c79169d" providerId="AD" clId="Web-{5258DD45-EF35-0FB7-0F86-8DC2000D503E}" dt="2022-12-13T14:04:17.459" v="0"/>
      <pc:docMkLst>
        <pc:docMk/>
      </pc:docMkLst>
      <pc:sldChg chg="addCm">
        <pc:chgData name="Leah Selcer" userId="S::leah.selcer@neel-schaffer.com::ddebd5d7-5623-455e-9bcd-00ca1c79169d" providerId="AD" clId="Web-{5258DD45-EF35-0FB7-0F86-8DC2000D503E}" dt="2022-12-13T14:04:17.459" v="0"/>
        <pc:sldMkLst>
          <pc:docMk/>
          <pc:sldMk cId="2476424142" sldId="617"/>
        </pc:sldMkLst>
      </pc:sldChg>
    </pc:docChg>
  </pc:docChgLst>
  <pc:docChgLst>
    <pc:chgData name="Leah Selcer" userId="S::leah.selcer@neel-schaffer.com::ddebd5d7-5623-455e-9bcd-00ca1c79169d" providerId="AD" clId="Web-{B487B71A-7A3B-9B5C-40E4-BFC66C6424FF}"/>
    <pc:docChg chg="modSld">
      <pc:chgData name="Leah Selcer" userId="S::leah.selcer@neel-schaffer.com::ddebd5d7-5623-455e-9bcd-00ca1c79169d" providerId="AD" clId="Web-{B487B71A-7A3B-9B5C-40E4-BFC66C6424FF}" dt="2022-12-13T23:17:16.011" v="19" actId="20577"/>
      <pc:docMkLst>
        <pc:docMk/>
      </pc:docMkLst>
      <pc:sldChg chg="modSp">
        <pc:chgData name="Leah Selcer" userId="S::leah.selcer@neel-schaffer.com::ddebd5d7-5623-455e-9bcd-00ca1c79169d" providerId="AD" clId="Web-{B487B71A-7A3B-9B5C-40E4-BFC66C6424FF}" dt="2022-12-13T23:17:16.011" v="19" actId="20577"/>
        <pc:sldMkLst>
          <pc:docMk/>
          <pc:sldMk cId="1260594065" sldId="615"/>
        </pc:sldMkLst>
        <pc:spChg chg="mod">
          <ac:chgData name="Leah Selcer" userId="S::leah.selcer@neel-schaffer.com::ddebd5d7-5623-455e-9bcd-00ca1c79169d" providerId="AD" clId="Web-{B487B71A-7A3B-9B5C-40E4-BFC66C6424FF}" dt="2022-12-13T23:17:16.011" v="19" actId="20577"/>
          <ac:spMkLst>
            <pc:docMk/>
            <pc:sldMk cId="1260594065" sldId="615"/>
            <ac:spMk id="2" creationId="{F7347354-9C9F-8428-057D-631E0AA4EB16}"/>
          </ac:spMkLst>
        </pc:spChg>
        <pc:spChg chg="mod">
          <ac:chgData name="Leah Selcer" userId="S::leah.selcer@neel-schaffer.com::ddebd5d7-5623-455e-9bcd-00ca1c79169d" providerId="AD" clId="Web-{B487B71A-7A3B-9B5C-40E4-BFC66C6424FF}" dt="2022-12-13T23:17:13.120" v="17" actId="20577"/>
          <ac:spMkLst>
            <pc:docMk/>
            <pc:sldMk cId="1260594065" sldId="615"/>
            <ac:spMk id="10" creationId="{AFA7DCE7-A058-5172-FABD-182E2FDB5DE0}"/>
          </ac:spMkLst>
        </pc:spChg>
      </pc:sldChg>
      <pc:sldChg chg="modSp">
        <pc:chgData name="Leah Selcer" userId="S::leah.selcer@neel-schaffer.com::ddebd5d7-5623-455e-9bcd-00ca1c79169d" providerId="AD" clId="Web-{B487B71A-7A3B-9B5C-40E4-BFC66C6424FF}" dt="2022-12-13T23:16:27.228" v="7" actId="20577"/>
        <pc:sldMkLst>
          <pc:docMk/>
          <pc:sldMk cId="1533576855" sldId="648"/>
        </pc:sldMkLst>
        <pc:spChg chg="mod">
          <ac:chgData name="Leah Selcer" userId="S::leah.selcer@neel-schaffer.com::ddebd5d7-5623-455e-9bcd-00ca1c79169d" providerId="AD" clId="Web-{B487B71A-7A3B-9B5C-40E4-BFC66C6424FF}" dt="2022-12-13T23:16:27.228" v="7" actId="20577"/>
          <ac:spMkLst>
            <pc:docMk/>
            <pc:sldMk cId="1533576855" sldId="648"/>
            <ac:spMk id="2" creationId="{F7347354-9C9F-8428-057D-631E0AA4EB16}"/>
          </ac:spMkLst>
        </pc:spChg>
      </pc:sldChg>
    </pc:docChg>
  </pc:docChgLst>
  <pc:docChgLst>
    <pc:chgData name="Leah Selcer" userId="S::leah.selcer@neel-schaffer.com::ddebd5d7-5623-455e-9bcd-00ca1c79169d" providerId="AD" clId="Web-{D1FFB2C1-C6F4-3B5B-2FFC-AA1BA50C257D}"/>
    <pc:docChg chg="modSld">
      <pc:chgData name="Leah Selcer" userId="S::leah.selcer@neel-schaffer.com::ddebd5d7-5623-455e-9bcd-00ca1c79169d" providerId="AD" clId="Web-{D1FFB2C1-C6F4-3B5B-2FFC-AA1BA50C257D}" dt="2022-12-13T17:50:11.956" v="12" actId="1076"/>
      <pc:docMkLst>
        <pc:docMk/>
      </pc:docMkLst>
      <pc:sldChg chg="addSp modSp modCm">
        <pc:chgData name="Leah Selcer" userId="S::leah.selcer@neel-schaffer.com::ddebd5d7-5623-455e-9bcd-00ca1c79169d" providerId="AD" clId="Web-{D1FFB2C1-C6F4-3B5B-2FFC-AA1BA50C257D}" dt="2022-12-13T17:50:11.956" v="12" actId="1076"/>
        <pc:sldMkLst>
          <pc:docMk/>
          <pc:sldMk cId="1260594065" sldId="615"/>
        </pc:sldMkLst>
        <pc:picChg chg="add mod">
          <ac:chgData name="Leah Selcer" userId="S::leah.selcer@neel-schaffer.com::ddebd5d7-5623-455e-9bcd-00ca1c79169d" providerId="AD" clId="Web-{D1FFB2C1-C6F4-3B5B-2FFC-AA1BA50C257D}" dt="2022-12-13T17:50:11.956" v="12" actId="1076"/>
          <ac:picMkLst>
            <pc:docMk/>
            <pc:sldMk cId="1260594065" sldId="615"/>
            <ac:picMk id="3" creationId="{D009AF5C-267D-1025-C08D-5671D33B0854}"/>
          </ac:picMkLst>
        </pc:picChg>
        <pc:picChg chg="mod">
          <ac:chgData name="Leah Selcer" userId="S::leah.selcer@neel-schaffer.com::ddebd5d7-5623-455e-9bcd-00ca1c79169d" providerId="AD" clId="Web-{D1FFB2C1-C6F4-3B5B-2FFC-AA1BA50C257D}" dt="2022-12-13T17:50:02.331" v="8" actId="1076"/>
          <ac:picMkLst>
            <pc:docMk/>
            <pc:sldMk cId="1260594065" sldId="615"/>
            <ac:picMk id="4" creationId="{0110A3A3-530E-CCA3-C902-C8EE0CDD0DE3}"/>
          </ac:picMkLst>
        </pc:picChg>
      </pc:sldChg>
    </pc:docChg>
  </pc:docChgLst>
  <pc:docChgLst>
    <pc:chgData name="katie.freer@la.gov" userId="S::katie.freer_la.gov#ext#@sprintcloud1001092.onmicrosoft.com::4bbf2aad-bf49-45bc-a5ef-553704949c30" providerId="AD" clId="Web-{A4D955A2-8EEA-7620-33DC-FDE0B8F18857}"/>
    <pc:docChg chg="">
      <pc:chgData name="katie.freer@la.gov" userId="S::katie.freer_la.gov#ext#@sprintcloud1001092.onmicrosoft.com::4bbf2aad-bf49-45bc-a5ef-553704949c30" providerId="AD" clId="Web-{A4D955A2-8EEA-7620-33DC-FDE0B8F18857}" dt="2022-12-14T16:24:59.068" v="6"/>
      <pc:docMkLst>
        <pc:docMk/>
      </pc:docMkLst>
      <pc:sldChg chg="delCm">
        <pc:chgData name="katie.freer@la.gov" userId="S::katie.freer_la.gov#ext#@sprintcloud1001092.onmicrosoft.com::4bbf2aad-bf49-45bc-a5ef-553704949c30" providerId="AD" clId="Web-{A4D955A2-8EEA-7620-33DC-FDE0B8F18857}" dt="2022-12-14T16:24:59.068" v="6"/>
        <pc:sldMkLst>
          <pc:docMk/>
          <pc:sldMk cId="1551344687" sldId="584"/>
        </pc:sldMkLst>
      </pc:sldChg>
      <pc:sldChg chg="delCm">
        <pc:chgData name="katie.freer@la.gov" userId="S::katie.freer_la.gov#ext#@sprintcloud1001092.onmicrosoft.com::4bbf2aad-bf49-45bc-a5ef-553704949c30" providerId="AD" clId="Web-{A4D955A2-8EEA-7620-33DC-FDE0B8F18857}" dt="2022-12-14T16:24:32.442" v="4"/>
        <pc:sldMkLst>
          <pc:docMk/>
          <pc:sldMk cId="1260594065" sldId="615"/>
        </pc:sldMkLst>
      </pc:sldChg>
      <pc:sldChg chg="delCm">
        <pc:chgData name="katie.freer@la.gov" userId="S::katie.freer_la.gov#ext#@sprintcloud1001092.onmicrosoft.com::4bbf2aad-bf49-45bc-a5ef-553704949c30" providerId="AD" clId="Web-{A4D955A2-8EEA-7620-33DC-FDE0B8F18857}" dt="2022-12-14T16:23:42.691" v="0"/>
        <pc:sldMkLst>
          <pc:docMk/>
          <pc:sldMk cId="1566969012" sldId="618"/>
        </pc:sldMkLst>
      </pc:sldChg>
      <pc:sldChg chg="delCm">
        <pc:chgData name="katie.freer@la.gov" userId="S::katie.freer_la.gov#ext#@sprintcloud1001092.onmicrosoft.com::4bbf2aad-bf49-45bc-a5ef-553704949c30" providerId="AD" clId="Web-{A4D955A2-8EEA-7620-33DC-FDE0B8F18857}" dt="2022-12-14T16:24:49.521" v="5"/>
        <pc:sldMkLst>
          <pc:docMk/>
          <pc:sldMk cId="3398086154" sldId="627"/>
        </pc:sldMkLst>
      </pc:sldChg>
      <pc:sldChg chg="delCm">
        <pc:chgData name="katie.freer@la.gov" userId="S::katie.freer_la.gov#ext#@sprintcloud1001092.onmicrosoft.com::4bbf2aad-bf49-45bc-a5ef-553704949c30" providerId="AD" clId="Web-{A4D955A2-8EEA-7620-33DC-FDE0B8F18857}" dt="2022-12-14T16:24:21.786" v="2"/>
        <pc:sldMkLst>
          <pc:docMk/>
          <pc:sldMk cId="1533576855" sldId="648"/>
        </pc:sldMkLst>
      </pc:sldChg>
    </pc:docChg>
  </pc:docChgLst>
  <pc:docChgLst>
    <pc:chgData name="Glenn Ledet" userId="S::glenn.ledet@neel-schaffer.com::872112e3-5206-4e32-a1d1-17892283609b" providerId="AD" clId="Web-{AEBB4141-DB96-C390-63E7-6CBE835FA6C7}"/>
    <pc:docChg chg="addSld modSld modSection">
      <pc:chgData name="Glenn Ledet" userId="S::glenn.ledet@neel-schaffer.com::872112e3-5206-4e32-a1d1-17892283609b" providerId="AD" clId="Web-{AEBB4141-DB96-C390-63E7-6CBE835FA6C7}" dt="2022-12-15T13:49:28.863" v="369" actId="20577"/>
      <pc:docMkLst>
        <pc:docMk/>
      </pc:docMkLst>
      <pc:sldChg chg="modSp">
        <pc:chgData name="Glenn Ledet" userId="S::glenn.ledet@neel-schaffer.com::872112e3-5206-4e32-a1d1-17892283609b" providerId="AD" clId="Web-{AEBB4141-DB96-C390-63E7-6CBE835FA6C7}" dt="2022-12-15T13:33:23.878" v="207" actId="20577"/>
        <pc:sldMkLst>
          <pc:docMk/>
          <pc:sldMk cId="1466892756" sldId="486"/>
        </pc:sldMkLst>
        <pc:spChg chg="mod">
          <ac:chgData name="Glenn Ledet" userId="S::glenn.ledet@neel-schaffer.com::872112e3-5206-4e32-a1d1-17892283609b" providerId="AD" clId="Web-{AEBB4141-DB96-C390-63E7-6CBE835FA6C7}" dt="2022-12-15T13:33:23.878" v="207" actId="20577"/>
          <ac:spMkLst>
            <pc:docMk/>
            <pc:sldMk cId="1466892756" sldId="486"/>
            <ac:spMk id="3" creationId="{09A1F398-0840-0140-83CE-A611DB97F3EF}"/>
          </ac:spMkLst>
        </pc:spChg>
      </pc:sldChg>
      <pc:sldChg chg="modSp">
        <pc:chgData name="Glenn Ledet" userId="S::glenn.ledet@neel-schaffer.com::872112e3-5206-4e32-a1d1-17892283609b" providerId="AD" clId="Web-{AEBB4141-DB96-C390-63E7-6CBE835FA6C7}" dt="2022-12-15T13:31:08.217" v="97"/>
        <pc:sldMkLst>
          <pc:docMk/>
          <pc:sldMk cId="244154417" sldId="505"/>
        </pc:sldMkLst>
        <pc:graphicFrameChg chg="mod modGraphic">
          <ac:chgData name="Glenn Ledet" userId="S::glenn.ledet@neel-schaffer.com::872112e3-5206-4e32-a1d1-17892283609b" providerId="AD" clId="Web-{AEBB4141-DB96-C390-63E7-6CBE835FA6C7}" dt="2022-12-15T13:31:08.217" v="97"/>
          <ac:graphicFrameMkLst>
            <pc:docMk/>
            <pc:sldMk cId="244154417" sldId="505"/>
            <ac:graphicFrameMk id="3" creationId="{523E42B8-A58D-43B6-86C3-D298643AD849}"/>
          </ac:graphicFrameMkLst>
        </pc:graphicFrameChg>
      </pc:sldChg>
      <pc:sldChg chg="modSp">
        <pc:chgData name="Glenn Ledet" userId="S::glenn.ledet@neel-schaffer.com::872112e3-5206-4e32-a1d1-17892283609b" providerId="AD" clId="Web-{AEBB4141-DB96-C390-63E7-6CBE835FA6C7}" dt="2022-12-15T13:32:49.923" v="188" actId="20577"/>
        <pc:sldMkLst>
          <pc:docMk/>
          <pc:sldMk cId="1031080140" sldId="539"/>
        </pc:sldMkLst>
        <pc:spChg chg="mod">
          <ac:chgData name="Glenn Ledet" userId="S::glenn.ledet@neel-schaffer.com::872112e3-5206-4e32-a1d1-17892283609b" providerId="AD" clId="Web-{AEBB4141-DB96-C390-63E7-6CBE835FA6C7}" dt="2022-12-15T13:32:40.032" v="167" actId="20577"/>
          <ac:spMkLst>
            <pc:docMk/>
            <pc:sldMk cId="1031080140" sldId="539"/>
            <ac:spMk id="14" creationId="{C221EF88-CF19-4544-9B99-A315A34EA12C}"/>
          </ac:spMkLst>
        </pc:spChg>
        <pc:spChg chg="mod">
          <ac:chgData name="Glenn Ledet" userId="S::glenn.ledet@neel-schaffer.com::872112e3-5206-4e32-a1d1-17892283609b" providerId="AD" clId="Web-{AEBB4141-DB96-C390-63E7-6CBE835FA6C7}" dt="2022-12-15T13:32:45.501" v="178" actId="20577"/>
          <ac:spMkLst>
            <pc:docMk/>
            <pc:sldMk cId="1031080140" sldId="539"/>
            <ac:spMk id="17" creationId="{2DBD4EB4-04EE-4C25-8A0E-2B3D9987908D}"/>
          </ac:spMkLst>
        </pc:spChg>
        <pc:spChg chg="mod">
          <ac:chgData name="Glenn Ledet" userId="S::glenn.ledet@neel-schaffer.com::872112e3-5206-4e32-a1d1-17892283609b" providerId="AD" clId="Web-{AEBB4141-DB96-C390-63E7-6CBE835FA6C7}" dt="2022-12-15T13:32:49.923" v="188" actId="20577"/>
          <ac:spMkLst>
            <pc:docMk/>
            <pc:sldMk cId="1031080140" sldId="539"/>
            <ac:spMk id="18" creationId="{B52BB97D-7143-405A-BFBC-26C05321BB64}"/>
          </ac:spMkLst>
        </pc:spChg>
      </pc:sldChg>
      <pc:sldChg chg="modSp">
        <pc:chgData name="Glenn Ledet" userId="S::glenn.ledet@neel-schaffer.com::872112e3-5206-4e32-a1d1-17892283609b" providerId="AD" clId="Web-{AEBB4141-DB96-C390-63E7-6CBE835FA6C7}" dt="2022-12-15T13:30:57.185" v="91" actId="20577"/>
        <pc:sldMkLst>
          <pc:docMk/>
          <pc:sldMk cId="682800000" sldId="579"/>
        </pc:sldMkLst>
        <pc:graphicFrameChg chg="modGraphic">
          <ac:chgData name="Glenn Ledet" userId="S::glenn.ledet@neel-schaffer.com::872112e3-5206-4e32-a1d1-17892283609b" providerId="AD" clId="Web-{AEBB4141-DB96-C390-63E7-6CBE835FA6C7}" dt="2022-12-15T13:30:57.185" v="91" actId="20577"/>
          <ac:graphicFrameMkLst>
            <pc:docMk/>
            <pc:sldMk cId="682800000" sldId="579"/>
            <ac:graphicFrameMk id="5" creationId="{E824A7AC-13CF-4349-A9E1-728CA58A20CB}"/>
          </ac:graphicFrameMkLst>
        </pc:graphicFrameChg>
      </pc:sldChg>
      <pc:sldChg chg="modSp">
        <pc:chgData name="Glenn Ledet" userId="S::glenn.ledet@neel-schaffer.com::872112e3-5206-4e32-a1d1-17892283609b" providerId="AD" clId="Web-{AEBB4141-DB96-C390-63E7-6CBE835FA6C7}" dt="2022-12-15T13:35:44.429" v="248" actId="1076"/>
        <pc:sldMkLst>
          <pc:docMk/>
          <pc:sldMk cId="3934733957" sldId="590"/>
        </pc:sldMkLst>
        <pc:spChg chg="mod">
          <ac:chgData name="Glenn Ledet" userId="S::glenn.ledet@neel-schaffer.com::872112e3-5206-4e32-a1d1-17892283609b" providerId="AD" clId="Web-{AEBB4141-DB96-C390-63E7-6CBE835FA6C7}" dt="2022-12-15T13:35:44.429" v="248" actId="1076"/>
          <ac:spMkLst>
            <pc:docMk/>
            <pc:sldMk cId="3934733957" sldId="590"/>
            <ac:spMk id="4" creationId="{6D1D1EED-A1E1-E820-1102-52C10077B29E}"/>
          </ac:spMkLst>
        </pc:spChg>
        <pc:spChg chg="mod">
          <ac:chgData name="Glenn Ledet" userId="S::glenn.ledet@neel-schaffer.com::872112e3-5206-4e32-a1d1-17892283609b" providerId="AD" clId="Web-{AEBB4141-DB96-C390-63E7-6CBE835FA6C7}" dt="2022-12-15T13:35:36.851" v="247" actId="20577"/>
          <ac:spMkLst>
            <pc:docMk/>
            <pc:sldMk cId="3934733957" sldId="590"/>
            <ac:spMk id="7" creationId="{14049432-A5B5-4D51-869A-D1C05FB2DB5E}"/>
          </ac:spMkLst>
        </pc:spChg>
      </pc:sldChg>
      <pc:sldChg chg="modSp">
        <pc:chgData name="Glenn Ledet" userId="S::glenn.ledet@neel-schaffer.com::872112e3-5206-4e32-a1d1-17892283609b" providerId="AD" clId="Web-{AEBB4141-DB96-C390-63E7-6CBE835FA6C7}" dt="2022-12-15T13:48:06.891" v="366" actId="20577"/>
        <pc:sldMkLst>
          <pc:docMk/>
          <pc:sldMk cId="4216336834" sldId="603"/>
        </pc:sldMkLst>
        <pc:spChg chg="mod">
          <ac:chgData name="Glenn Ledet" userId="S::glenn.ledet@neel-schaffer.com::872112e3-5206-4e32-a1d1-17892283609b" providerId="AD" clId="Web-{AEBB4141-DB96-C390-63E7-6CBE835FA6C7}" dt="2022-12-15T13:48:06.891" v="366" actId="20577"/>
          <ac:spMkLst>
            <pc:docMk/>
            <pc:sldMk cId="4216336834" sldId="603"/>
            <ac:spMk id="2" creationId="{F7347354-9C9F-8428-057D-631E0AA4EB16}"/>
          </ac:spMkLst>
        </pc:spChg>
      </pc:sldChg>
      <pc:sldChg chg="modSp">
        <pc:chgData name="Glenn Ledet" userId="S::glenn.ledet@neel-schaffer.com::872112e3-5206-4e32-a1d1-17892283609b" providerId="AD" clId="Web-{AEBB4141-DB96-C390-63E7-6CBE835FA6C7}" dt="2022-12-15T13:40:36.611" v="254"/>
        <pc:sldMkLst>
          <pc:docMk/>
          <pc:sldMk cId="470351898" sldId="614"/>
        </pc:sldMkLst>
        <pc:graphicFrameChg chg="mod modGraphic">
          <ac:chgData name="Glenn Ledet" userId="S::glenn.ledet@neel-schaffer.com::872112e3-5206-4e32-a1d1-17892283609b" providerId="AD" clId="Web-{AEBB4141-DB96-C390-63E7-6CBE835FA6C7}" dt="2022-12-15T13:40:36.611" v="254"/>
          <ac:graphicFrameMkLst>
            <pc:docMk/>
            <pc:sldMk cId="470351898" sldId="614"/>
            <ac:graphicFrameMk id="7" creationId="{BBBA6C76-522D-015F-7F8D-89688DB3ECD0}"/>
          </ac:graphicFrameMkLst>
        </pc:graphicFrameChg>
      </pc:sldChg>
      <pc:sldChg chg="modSp">
        <pc:chgData name="Glenn Ledet" userId="S::glenn.ledet@neel-schaffer.com::872112e3-5206-4e32-a1d1-17892283609b" providerId="AD" clId="Web-{AEBB4141-DB96-C390-63E7-6CBE835FA6C7}" dt="2022-12-15T13:34:52.959" v="238" actId="1076"/>
        <pc:sldMkLst>
          <pc:docMk/>
          <pc:sldMk cId="2476424142" sldId="617"/>
        </pc:sldMkLst>
        <pc:spChg chg="mod">
          <ac:chgData name="Glenn Ledet" userId="S::glenn.ledet@neel-schaffer.com::872112e3-5206-4e32-a1d1-17892283609b" providerId="AD" clId="Web-{AEBB4141-DB96-C390-63E7-6CBE835FA6C7}" dt="2022-12-15T13:34:15.848" v="231" actId="1076"/>
          <ac:spMkLst>
            <pc:docMk/>
            <pc:sldMk cId="2476424142" sldId="617"/>
            <ac:spMk id="4" creationId="{CFCD6999-5D80-6479-7CAA-BC6655896176}"/>
          </ac:spMkLst>
        </pc:spChg>
        <pc:spChg chg="mod">
          <ac:chgData name="Glenn Ledet" userId="S::glenn.ledet@neel-schaffer.com::872112e3-5206-4e32-a1d1-17892283609b" providerId="AD" clId="Web-{AEBB4141-DB96-C390-63E7-6CBE835FA6C7}" dt="2022-12-15T13:34:37.521" v="237" actId="1076"/>
          <ac:spMkLst>
            <pc:docMk/>
            <pc:sldMk cId="2476424142" sldId="617"/>
            <ac:spMk id="9" creationId="{25C92DED-1E75-A23F-BED6-79DF51BE2E5E}"/>
          </ac:spMkLst>
        </pc:spChg>
        <pc:spChg chg="mod">
          <ac:chgData name="Glenn Ledet" userId="S::glenn.ledet@neel-schaffer.com::872112e3-5206-4e32-a1d1-17892283609b" providerId="AD" clId="Web-{AEBB4141-DB96-C390-63E7-6CBE835FA6C7}" dt="2022-12-15T13:34:33.942" v="234" actId="1076"/>
          <ac:spMkLst>
            <pc:docMk/>
            <pc:sldMk cId="2476424142" sldId="617"/>
            <ac:spMk id="18" creationId="{B9DD336F-EE36-A594-B0F0-1ED1F087E73A}"/>
          </ac:spMkLst>
        </pc:spChg>
        <pc:picChg chg="mod">
          <ac:chgData name="Glenn Ledet" userId="S::glenn.ledet@neel-schaffer.com::872112e3-5206-4e32-a1d1-17892283609b" providerId="AD" clId="Web-{AEBB4141-DB96-C390-63E7-6CBE835FA6C7}" dt="2022-12-15T13:34:33.927" v="233" actId="1076"/>
          <ac:picMkLst>
            <pc:docMk/>
            <pc:sldMk cId="2476424142" sldId="617"/>
            <ac:picMk id="17" creationId="{B501D86E-68A2-6524-E66E-5DFD8ED63B18}"/>
          </ac:picMkLst>
        </pc:picChg>
        <pc:picChg chg="mod">
          <ac:chgData name="Glenn Ledet" userId="S::glenn.ledet@neel-schaffer.com::872112e3-5206-4e32-a1d1-17892283609b" providerId="AD" clId="Web-{AEBB4141-DB96-C390-63E7-6CBE835FA6C7}" dt="2022-12-15T13:34:52.959" v="238" actId="1076"/>
          <ac:picMkLst>
            <pc:docMk/>
            <pc:sldMk cId="2476424142" sldId="617"/>
            <ac:picMk id="21" creationId="{782EF883-7FC4-C383-CF84-8FCE5F92A3FD}"/>
          </ac:picMkLst>
        </pc:picChg>
        <pc:cxnChg chg="mod">
          <ac:chgData name="Glenn Ledet" userId="S::glenn.ledet@neel-schaffer.com::872112e3-5206-4e32-a1d1-17892283609b" providerId="AD" clId="Web-{AEBB4141-DB96-C390-63E7-6CBE835FA6C7}" dt="2022-12-15T13:34:33.942" v="235" actId="1076"/>
          <ac:cxnSpMkLst>
            <pc:docMk/>
            <pc:sldMk cId="2476424142" sldId="617"/>
            <ac:cxnSpMk id="19" creationId="{9E7DAE30-B56E-E1E3-F1A4-C7F4984B8F37}"/>
          </ac:cxnSpMkLst>
        </pc:cxnChg>
        <pc:cxnChg chg="mod">
          <ac:chgData name="Glenn Ledet" userId="S::glenn.ledet@neel-schaffer.com::872112e3-5206-4e32-a1d1-17892283609b" providerId="AD" clId="Web-{AEBB4141-DB96-C390-63E7-6CBE835FA6C7}" dt="2022-12-15T13:34:33.942" v="236" actId="1076"/>
          <ac:cxnSpMkLst>
            <pc:docMk/>
            <pc:sldMk cId="2476424142" sldId="617"/>
            <ac:cxnSpMk id="20" creationId="{C87684F2-C014-4C76-B37F-A02147ECDCE1}"/>
          </ac:cxnSpMkLst>
        </pc:cxnChg>
      </pc:sldChg>
      <pc:sldChg chg="modSp">
        <pc:chgData name="Glenn Ledet" userId="S::glenn.ledet@neel-schaffer.com::872112e3-5206-4e32-a1d1-17892283609b" providerId="AD" clId="Web-{AEBB4141-DB96-C390-63E7-6CBE835FA6C7}" dt="2022-12-15T13:31:45.796" v="147"/>
        <pc:sldMkLst>
          <pc:docMk/>
          <pc:sldMk cId="2829496633" sldId="620"/>
        </pc:sldMkLst>
        <pc:graphicFrameChg chg="mod modGraphic">
          <ac:chgData name="Glenn Ledet" userId="S::glenn.ledet@neel-schaffer.com::872112e3-5206-4e32-a1d1-17892283609b" providerId="AD" clId="Web-{AEBB4141-DB96-C390-63E7-6CBE835FA6C7}" dt="2022-12-15T13:31:45.796" v="147"/>
          <ac:graphicFrameMkLst>
            <pc:docMk/>
            <pc:sldMk cId="2829496633" sldId="620"/>
            <ac:graphicFrameMk id="5" creationId="{45DC8894-4D67-A9B1-5747-4FCA4E023E80}"/>
          </ac:graphicFrameMkLst>
        </pc:graphicFrameChg>
      </pc:sldChg>
      <pc:sldChg chg="addSp delSp modSp add replId">
        <pc:chgData name="Glenn Ledet" userId="S::glenn.ledet@neel-schaffer.com::872112e3-5206-4e32-a1d1-17892283609b" providerId="AD" clId="Web-{AEBB4141-DB96-C390-63E7-6CBE835FA6C7}" dt="2022-12-15T13:43:02.381" v="273"/>
        <pc:sldMkLst>
          <pc:docMk/>
          <pc:sldMk cId="2291413568" sldId="649"/>
        </pc:sldMkLst>
        <pc:spChg chg="del">
          <ac:chgData name="Glenn Ledet" userId="S::glenn.ledet@neel-schaffer.com::872112e3-5206-4e32-a1d1-17892283609b" providerId="AD" clId="Web-{AEBB4141-DB96-C390-63E7-6CBE835FA6C7}" dt="2022-12-15T13:42:32.864" v="264"/>
          <ac:spMkLst>
            <pc:docMk/>
            <pc:sldMk cId="2291413568" sldId="649"/>
            <ac:spMk id="2" creationId="{F7347354-9C9F-8428-057D-631E0AA4EB16}"/>
          </ac:spMkLst>
        </pc:spChg>
        <pc:spChg chg="mod">
          <ac:chgData name="Glenn Ledet" userId="S::glenn.ledet@neel-schaffer.com::872112e3-5206-4e32-a1d1-17892283609b" providerId="AD" clId="Web-{AEBB4141-DB96-C390-63E7-6CBE835FA6C7}" dt="2022-12-15T13:42:28.536" v="263" actId="20577"/>
          <ac:spMkLst>
            <pc:docMk/>
            <pc:sldMk cId="2291413568" sldId="649"/>
            <ac:spMk id="7" creationId="{9379D123-26A0-472E-8CC0-D13E80626843}"/>
          </ac:spMkLst>
        </pc:spChg>
        <pc:picChg chg="add del mod">
          <ac:chgData name="Glenn Ledet" userId="S::glenn.ledet@neel-schaffer.com::872112e3-5206-4e32-a1d1-17892283609b" providerId="AD" clId="Web-{AEBB4141-DB96-C390-63E7-6CBE835FA6C7}" dt="2022-12-15T13:43:02.381" v="273"/>
          <ac:picMkLst>
            <pc:docMk/>
            <pc:sldMk cId="2291413568" sldId="649"/>
            <ac:picMk id="3" creationId="{14918931-FD1B-5CAF-8E7C-306B9F622ED2}"/>
          </ac:picMkLst>
        </pc:picChg>
        <pc:picChg chg="del">
          <ac:chgData name="Glenn Ledet" userId="S::glenn.ledet@neel-schaffer.com::872112e3-5206-4e32-a1d1-17892283609b" providerId="AD" clId="Web-{AEBB4141-DB96-C390-63E7-6CBE835FA6C7}" dt="2022-12-15T13:42:34.318" v="266"/>
          <ac:picMkLst>
            <pc:docMk/>
            <pc:sldMk cId="2291413568" sldId="649"/>
            <ac:picMk id="4" creationId="{ABE95AE9-938A-9FE0-8808-D353377A6CBF}"/>
          </ac:picMkLst>
        </pc:picChg>
        <pc:picChg chg="del">
          <ac:chgData name="Glenn Ledet" userId="S::glenn.ledet@neel-schaffer.com::872112e3-5206-4e32-a1d1-17892283609b" providerId="AD" clId="Web-{AEBB4141-DB96-C390-63E7-6CBE835FA6C7}" dt="2022-12-15T13:42:33.318" v="265"/>
          <ac:picMkLst>
            <pc:docMk/>
            <pc:sldMk cId="2291413568" sldId="649"/>
            <ac:picMk id="5" creationId="{E3EBE6E6-9809-7F17-9846-596BC09441AB}"/>
          </ac:picMkLst>
        </pc:picChg>
      </pc:sldChg>
      <pc:sldChg chg="delSp modSp add replId">
        <pc:chgData name="Glenn Ledet" userId="S::glenn.ledet@neel-schaffer.com::872112e3-5206-4e32-a1d1-17892283609b" providerId="AD" clId="Web-{AEBB4141-DB96-C390-63E7-6CBE835FA6C7}" dt="2022-12-15T13:49:28.863" v="369" actId="20577"/>
        <pc:sldMkLst>
          <pc:docMk/>
          <pc:sldMk cId="1614086355" sldId="650"/>
        </pc:sldMkLst>
        <pc:spChg chg="mod">
          <ac:chgData name="Glenn Ledet" userId="S::glenn.ledet@neel-schaffer.com::872112e3-5206-4e32-a1d1-17892283609b" providerId="AD" clId="Web-{AEBB4141-DB96-C390-63E7-6CBE835FA6C7}" dt="2022-12-15T13:49:28.863" v="369" actId="20577"/>
          <ac:spMkLst>
            <pc:docMk/>
            <pc:sldMk cId="1614086355" sldId="650"/>
            <ac:spMk id="2" creationId="{F7347354-9C9F-8428-057D-631E0AA4EB16}"/>
          </ac:spMkLst>
        </pc:spChg>
        <pc:spChg chg="del">
          <ac:chgData name="Glenn Ledet" userId="S::glenn.ledet@neel-schaffer.com::872112e3-5206-4e32-a1d1-17892283609b" providerId="AD" clId="Web-{AEBB4141-DB96-C390-63E7-6CBE835FA6C7}" dt="2022-12-15T13:46:02.871" v="278"/>
          <ac:spMkLst>
            <pc:docMk/>
            <pc:sldMk cId="1614086355" sldId="650"/>
            <ac:spMk id="6" creationId="{FAF08233-DCCE-96F2-F298-034370E951A8}"/>
          </ac:spMkLst>
        </pc:spChg>
        <pc:spChg chg="del">
          <ac:chgData name="Glenn Ledet" userId="S::glenn.ledet@neel-schaffer.com::872112e3-5206-4e32-a1d1-17892283609b" providerId="AD" clId="Web-{AEBB4141-DB96-C390-63E7-6CBE835FA6C7}" dt="2022-12-15T13:46:08.575" v="279"/>
          <ac:spMkLst>
            <pc:docMk/>
            <pc:sldMk cId="1614086355" sldId="650"/>
            <ac:spMk id="8" creationId="{8CA1BE9A-C816-1DEA-82EE-5573C62BBA92}"/>
          </ac:spMkLst>
        </pc:spChg>
        <pc:spChg chg="del">
          <ac:chgData name="Glenn Ledet" userId="S::glenn.ledet@neel-schaffer.com::872112e3-5206-4e32-a1d1-17892283609b" providerId="AD" clId="Web-{AEBB4141-DB96-C390-63E7-6CBE835FA6C7}" dt="2022-12-15T13:46:13.122" v="280"/>
          <ac:spMkLst>
            <pc:docMk/>
            <pc:sldMk cId="1614086355" sldId="650"/>
            <ac:spMk id="12" creationId="{63488B74-3E3D-0EF6-94F3-764A82971D9B}"/>
          </ac:spMkLst>
        </pc:spChg>
        <pc:picChg chg="del">
          <ac:chgData name="Glenn Ledet" userId="S::glenn.ledet@neel-schaffer.com::872112e3-5206-4e32-a1d1-17892283609b" providerId="AD" clId="Web-{AEBB4141-DB96-C390-63E7-6CBE835FA6C7}" dt="2022-12-15T13:45:58.106" v="277"/>
          <ac:picMkLst>
            <pc:docMk/>
            <pc:sldMk cId="1614086355" sldId="650"/>
            <ac:picMk id="5" creationId="{B8E93F6A-4F33-F1DC-D318-2A903F22E6DD}"/>
          </ac:picMkLst>
        </pc:picChg>
      </pc:sldChg>
    </pc:docChg>
  </pc:docChgLst>
  <pc:docChgLst>
    <pc:chgData name="Leah Selcer" userId="S::leah.selcer@neel-schaffer.com::ddebd5d7-5623-455e-9bcd-00ca1c79169d" providerId="AD" clId="Web-{CD32B789-C8D9-1F51-1AD2-32B43711428B}"/>
    <pc:docChg chg="modSld">
      <pc:chgData name="Leah Selcer" userId="S::leah.selcer@neel-schaffer.com::ddebd5d7-5623-455e-9bcd-00ca1c79169d" providerId="AD" clId="Web-{CD32B789-C8D9-1F51-1AD2-32B43711428B}" dt="2022-12-14T19:48:25.016" v="36"/>
      <pc:docMkLst>
        <pc:docMk/>
      </pc:docMkLst>
      <pc:sldChg chg="modSp">
        <pc:chgData name="Leah Selcer" userId="S::leah.selcer@neel-schaffer.com::ddebd5d7-5623-455e-9bcd-00ca1c79169d" providerId="AD" clId="Web-{CD32B789-C8D9-1F51-1AD2-32B43711428B}" dt="2022-12-14T19:39:50.126" v="23"/>
        <pc:sldMkLst>
          <pc:docMk/>
          <pc:sldMk cId="1882857557" sldId="488"/>
        </pc:sldMkLst>
        <pc:graphicFrameChg chg="mod modGraphic">
          <ac:chgData name="Leah Selcer" userId="S::leah.selcer@neel-schaffer.com::ddebd5d7-5623-455e-9bcd-00ca1c79169d" providerId="AD" clId="Web-{CD32B789-C8D9-1F51-1AD2-32B43711428B}" dt="2022-12-14T19:39:50.126" v="23"/>
          <ac:graphicFrameMkLst>
            <pc:docMk/>
            <pc:sldMk cId="1882857557" sldId="488"/>
            <ac:graphicFrameMk id="6" creationId="{8AF9AE6A-D0E8-4965-B54E-9374AE8B8842}"/>
          </ac:graphicFrameMkLst>
        </pc:graphicFrameChg>
      </pc:sldChg>
      <pc:sldChg chg="addCm">
        <pc:chgData name="Leah Selcer" userId="S::leah.selcer@neel-schaffer.com::ddebd5d7-5623-455e-9bcd-00ca1c79169d" providerId="AD" clId="Web-{CD32B789-C8D9-1F51-1AD2-32B43711428B}" dt="2022-12-14T19:41:33.254" v="24"/>
        <pc:sldMkLst>
          <pc:docMk/>
          <pc:sldMk cId="2895423667" sldId="613"/>
        </pc:sldMkLst>
      </pc:sldChg>
      <pc:sldChg chg="modSp">
        <pc:chgData name="Leah Selcer" userId="S::leah.selcer@neel-schaffer.com::ddebd5d7-5623-455e-9bcd-00ca1c79169d" providerId="AD" clId="Web-{CD32B789-C8D9-1F51-1AD2-32B43711428B}" dt="2022-12-14T19:43:55.336" v="25" actId="1076"/>
        <pc:sldMkLst>
          <pc:docMk/>
          <pc:sldMk cId="3102114941" sldId="621"/>
        </pc:sldMkLst>
        <pc:spChg chg="mod">
          <ac:chgData name="Leah Selcer" userId="S::leah.selcer@neel-schaffer.com::ddebd5d7-5623-455e-9bcd-00ca1c79169d" providerId="AD" clId="Web-{CD32B789-C8D9-1F51-1AD2-32B43711428B}" dt="2022-12-14T19:43:55.336" v="25" actId="1076"/>
          <ac:spMkLst>
            <pc:docMk/>
            <pc:sldMk cId="3102114941" sldId="621"/>
            <ac:spMk id="15" creationId="{379A18BF-BA7D-2520-7735-309F56607222}"/>
          </ac:spMkLst>
        </pc:spChg>
      </pc:sldChg>
      <pc:sldChg chg="modNotes">
        <pc:chgData name="Leah Selcer" userId="S::leah.selcer@neel-schaffer.com::ddebd5d7-5623-455e-9bcd-00ca1c79169d" providerId="AD" clId="Web-{CD32B789-C8D9-1F51-1AD2-32B43711428B}" dt="2022-12-14T19:48:25.016" v="36"/>
        <pc:sldMkLst>
          <pc:docMk/>
          <pc:sldMk cId="1533576855" sldId="648"/>
        </pc:sldMkLst>
      </pc:sldChg>
    </pc:docChg>
  </pc:docChgLst>
  <pc:docChgLst>
    <pc:chgData name="Glenn Ledet" userId="872112e3-5206-4e32-a1d1-17892283609b" providerId="ADAL" clId="{F0356B18-5EDA-45BA-B69D-04CA4B160291}"/>
    <pc:docChg chg="undo custSel modSld sldOrd">
      <pc:chgData name="Glenn Ledet" userId="872112e3-5206-4e32-a1d1-17892283609b" providerId="ADAL" clId="{F0356B18-5EDA-45BA-B69D-04CA4B160291}" dt="2022-12-12T14:24:40.696" v="119"/>
      <pc:docMkLst>
        <pc:docMk/>
      </pc:docMkLst>
      <pc:sldChg chg="ord">
        <pc:chgData name="Glenn Ledet" userId="872112e3-5206-4e32-a1d1-17892283609b" providerId="ADAL" clId="{F0356B18-5EDA-45BA-B69D-04CA4B160291}" dt="2022-12-12T14:16:04.207" v="3" actId="20578"/>
        <pc:sldMkLst>
          <pc:docMk/>
          <pc:sldMk cId="799666519" sldId="609"/>
        </pc:sldMkLst>
      </pc:sldChg>
      <pc:sldChg chg="addSp modSp mod">
        <pc:chgData name="Glenn Ledet" userId="872112e3-5206-4e32-a1d1-17892283609b" providerId="ADAL" clId="{F0356B18-5EDA-45BA-B69D-04CA4B160291}" dt="2022-12-12T14:21:56.620" v="61" actId="14100"/>
        <pc:sldMkLst>
          <pc:docMk/>
          <pc:sldMk cId="2476424142" sldId="617"/>
        </pc:sldMkLst>
        <pc:spChg chg="add mod">
          <ac:chgData name="Glenn Ledet" userId="872112e3-5206-4e32-a1d1-17892283609b" providerId="ADAL" clId="{F0356B18-5EDA-45BA-B69D-04CA4B160291}" dt="2022-12-12T14:21:13.528" v="50" actId="208"/>
          <ac:spMkLst>
            <pc:docMk/>
            <pc:sldMk cId="2476424142" sldId="617"/>
            <ac:spMk id="3" creationId="{5BD4362B-6373-B6F9-C57F-6DFD579B1792}"/>
          </ac:spMkLst>
        </pc:spChg>
        <pc:cxnChg chg="add mod">
          <ac:chgData name="Glenn Ledet" userId="872112e3-5206-4e32-a1d1-17892283609b" providerId="ADAL" clId="{F0356B18-5EDA-45BA-B69D-04CA4B160291}" dt="2022-12-12T14:21:42.953" v="59" actId="14100"/>
          <ac:cxnSpMkLst>
            <pc:docMk/>
            <pc:sldMk cId="2476424142" sldId="617"/>
            <ac:cxnSpMk id="6" creationId="{EC69D434-18B0-F176-D232-2D1E9088798C}"/>
          </ac:cxnSpMkLst>
        </pc:cxnChg>
        <pc:cxnChg chg="add mod">
          <ac:chgData name="Glenn Ledet" userId="872112e3-5206-4e32-a1d1-17892283609b" providerId="ADAL" clId="{F0356B18-5EDA-45BA-B69D-04CA4B160291}" dt="2022-12-12T14:21:56.620" v="61" actId="14100"/>
          <ac:cxnSpMkLst>
            <pc:docMk/>
            <pc:sldMk cId="2476424142" sldId="617"/>
            <ac:cxnSpMk id="16" creationId="{2E2FC286-86E3-E677-32F5-71AD825612B7}"/>
          </ac:cxnSpMkLst>
        </pc:cxnChg>
      </pc:sldChg>
      <pc:sldChg chg="addSp modSp mod">
        <pc:chgData name="Glenn Ledet" userId="872112e3-5206-4e32-a1d1-17892283609b" providerId="ADAL" clId="{F0356B18-5EDA-45BA-B69D-04CA4B160291}" dt="2022-12-12T14:20:30.910" v="18" actId="1076"/>
        <pc:sldMkLst>
          <pc:docMk/>
          <pc:sldMk cId="1566969012" sldId="618"/>
        </pc:sldMkLst>
        <pc:picChg chg="add mod">
          <ac:chgData name="Glenn Ledet" userId="872112e3-5206-4e32-a1d1-17892283609b" providerId="ADAL" clId="{F0356B18-5EDA-45BA-B69D-04CA4B160291}" dt="2022-12-12T14:20:23.158" v="15" actId="1076"/>
          <ac:picMkLst>
            <pc:docMk/>
            <pc:sldMk cId="1566969012" sldId="618"/>
            <ac:picMk id="4" creationId="{8A230212-B689-4E37-B322-D3401BB1513B}"/>
          </ac:picMkLst>
        </pc:picChg>
        <pc:picChg chg="mod">
          <ac:chgData name="Glenn Ledet" userId="872112e3-5206-4e32-a1d1-17892283609b" providerId="ADAL" clId="{F0356B18-5EDA-45BA-B69D-04CA4B160291}" dt="2022-12-12T14:20:27.301" v="16" actId="1076"/>
          <ac:picMkLst>
            <pc:docMk/>
            <pc:sldMk cId="1566969012" sldId="618"/>
            <ac:picMk id="7" creationId="{F2CA40AF-1A3B-46E6-0B91-931F1B8085CD}"/>
          </ac:picMkLst>
        </pc:picChg>
        <pc:picChg chg="add mod">
          <ac:chgData name="Glenn Ledet" userId="872112e3-5206-4e32-a1d1-17892283609b" providerId="ADAL" clId="{F0356B18-5EDA-45BA-B69D-04CA4B160291}" dt="2022-12-12T14:20:30.910" v="18" actId="1076"/>
          <ac:picMkLst>
            <pc:docMk/>
            <pc:sldMk cId="1566969012" sldId="618"/>
            <ac:picMk id="1026" creationId="{E59F318D-221B-208E-2F0A-02E336BA8446}"/>
          </ac:picMkLst>
        </pc:picChg>
      </pc:sldChg>
      <pc:sldChg chg="modSp mod">
        <pc:chgData name="Glenn Ledet" userId="872112e3-5206-4e32-a1d1-17892283609b" providerId="ADAL" clId="{F0356B18-5EDA-45BA-B69D-04CA4B160291}" dt="2022-12-12T14:24:18.604" v="118" actId="20577"/>
        <pc:sldMkLst>
          <pc:docMk/>
          <pc:sldMk cId="3102114941" sldId="621"/>
        </pc:sldMkLst>
        <pc:spChg chg="mod">
          <ac:chgData name="Glenn Ledet" userId="872112e3-5206-4e32-a1d1-17892283609b" providerId="ADAL" clId="{F0356B18-5EDA-45BA-B69D-04CA4B160291}" dt="2022-12-12T14:24:18.604" v="118" actId="20577"/>
          <ac:spMkLst>
            <pc:docMk/>
            <pc:sldMk cId="3102114941" sldId="621"/>
            <ac:spMk id="12" creationId="{48F37892-5511-499B-8B26-DB9E8D046D48}"/>
          </ac:spMkLst>
        </pc:spChg>
      </pc:sldChg>
      <pc:sldChg chg="modSp">
        <pc:chgData name="Glenn Ledet" userId="872112e3-5206-4e32-a1d1-17892283609b" providerId="ADAL" clId="{F0356B18-5EDA-45BA-B69D-04CA4B160291}" dt="2022-12-12T14:24:40.696" v="119"/>
        <pc:sldMkLst>
          <pc:docMk/>
          <pc:sldMk cId="3831277245" sldId="628"/>
        </pc:sldMkLst>
        <pc:graphicFrameChg chg="mod">
          <ac:chgData name="Glenn Ledet" userId="872112e3-5206-4e32-a1d1-17892283609b" providerId="ADAL" clId="{F0356B18-5EDA-45BA-B69D-04CA4B160291}" dt="2022-12-12T14:24:40.696" v="119"/>
          <ac:graphicFrameMkLst>
            <pc:docMk/>
            <pc:sldMk cId="3831277245" sldId="628"/>
            <ac:graphicFrameMk id="6" creationId="{A9D02CF4-0298-4D9C-C520-40C406045707}"/>
          </ac:graphicFrameMkLst>
        </pc:graphicFrameChg>
      </pc:sldChg>
    </pc:docChg>
  </pc:docChgLst>
  <pc:docChgLst>
    <pc:chgData name="Leah Selcer" userId="S::leah.selcer@neel-schaffer.com::ddebd5d7-5623-455e-9bcd-00ca1c79169d" providerId="AD" clId="Web-{28C7B61D-87DC-96F5-7D6D-46B4A9FF1A83}"/>
    <pc:docChg chg="modSld">
      <pc:chgData name="Leah Selcer" userId="S::leah.selcer@neel-schaffer.com::ddebd5d7-5623-455e-9bcd-00ca1c79169d" providerId="AD" clId="Web-{28C7B61D-87DC-96F5-7D6D-46B4A9FF1A83}" dt="2022-12-08T14:39:00.504" v="23" actId="14100"/>
      <pc:docMkLst>
        <pc:docMk/>
      </pc:docMkLst>
      <pc:sldChg chg="modSp">
        <pc:chgData name="Leah Selcer" userId="S::leah.selcer@neel-schaffer.com::ddebd5d7-5623-455e-9bcd-00ca1c79169d" providerId="AD" clId="Web-{28C7B61D-87DC-96F5-7D6D-46B4A9FF1A83}" dt="2022-12-08T14:39:00.504" v="23" actId="14100"/>
        <pc:sldMkLst>
          <pc:docMk/>
          <pc:sldMk cId="1410351530" sldId="595"/>
        </pc:sldMkLst>
        <pc:spChg chg="mod">
          <ac:chgData name="Leah Selcer" userId="S::leah.selcer@neel-schaffer.com::ddebd5d7-5623-455e-9bcd-00ca1c79169d" providerId="AD" clId="Web-{28C7B61D-87DC-96F5-7D6D-46B4A9FF1A83}" dt="2022-12-08T14:39:00.504" v="23" actId="14100"/>
          <ac:spMkLst>
            <pc:docMk/>
            <pc:sldMk cId="1410351530" sldId="595"/>
            <ac:spMk id="5" creationId="{A05D48A7-0F52-2C21-8950-0E6D9A9665B3}"/>
          </ac:spMkLst>
        </pc:spChg>
      </pc:sldChg>
    </pc:docChg>
  </pc:docChgLst>
  <pc:docChgLst>
    <pc:chgData name="Leah Selcer" userId="S::leah.selcer@neel-schaffer.com::ddebd5d7-5623-455e-9bcd-00ca1c79169d" providerId="AD" clId="Web-{304C21C8-79AB-661C-6F00-4DCD9200033A}"/>
    <pc:docChg chg="modSld">
      <pc:chgData name="Leah Selcer" userId="S::leah.selcer@neel-schaffer.com::ddebd5d7-5623-455e-9bcd-00ca1c79169d" providerId="AD" clId="Web-{304C21C8-79AB-661C-6F00-4DCD9200033A}" dt="2022-12-13T22:35:06.182" v="7"/>
      <pc:docMkLst>
        <pc:docMk/>
      </pc:docMkLst>
      <pc:sldChg chg="modSp">
        <pc:chgData name="Leah Selcer" userId="S::leah.selcer@neel-schaffer.com::ddebd5d7-5623-455e-9bcd-00ca1c79169d" providerId="AD" clId="Web-{304C21C8-79AB-661C-6F00-4DCD9200033A}" dt="2022-12-13T22:35:06.182" v="7"/>
        <pc:sldMkLst>
          <pc:docMk/>
          <pc:sldMk cId="2829496633" sldId="620"/>
        </pc:sldMkLst>
        <pc:graphicFrameChg chg="mod modGraphic">
          <ac:chgData name="Leah Selcer" userId="S::leah.selcer@neel-schaffer.com::ddebd5d7-5623-455e-9bcd-00ca1c79169d" providerId="AD" clId="Web-{304C21C8-79AB-661C-6F00-4DCD9200033A}" dt="2022-12-13T22:35:06.182" v="7"/>
          <ac:graphicFrameMkLst>
            <pc:docMk/>
            <pc:sldMk cId="2829496633" sldId="620"/>
            <ac:graphicFrameMk id="5" creationId="{45DC8894-4D67-A9B1-5747-4FCA4E023E80}"/>
          </ac:graphicFrameMkLst>
        </pc:graphicFrameChg>
      </pc:sldChg>
    </pc:docChg>
  </pc:docChgLst>
  <pc:docChgLst>
    <pc:chgData name="Leah Selcer" userId="S::leah.selcer@neel-schaffer.com::ddebd5d7-5623-455e-9bcd-00ca1c79169d" providerId="AD" clId="Web-{013E0A89-7F5F-989C-8EED-2492151A5A29}"/>
    <pc:docChg chg="modSld">
      <pc:chgData name="Leah Selcer" userId="S::leah.selcer@neel-schaffer.com::ddebd5d7-5623-455e-9bcd-00ca1c79169d" providerId="AD" clId="Web-{013E0A89-7F5F-989C-8EED-2492151A5A29}" dt="2022-12-08T14:35:14.201" v="11"/>
      <pc:docMkLst>
        <pc:docMk/>
      </pc:docMkLst>
      <pc:sldChg chg="modSp modCm">
        <pc:chgData name="Leah Selcer" userId="S::leah.selcer@neel-schaffer.com::ddebd5d7-5623-455e-9bcd-00ca1c79169d" providerId="AD" clId="Web-{013E0A89-7F5F-989C-8EED-2492151A5A29}" dt="2022-12-08T14:35:14.201" v="11"/>
        <pc:sldMkLst>
          <pc:docMk/>
          <pc:sldMk cId="2476424142" sldId="617"/>
        </pc:sldMkLst>
        <pc:spChg chg="mod">
          <ac:chgData name="Leah Selcer" userId="S::leah.selcer@neel-schaffer.com::ddebd5d7-5623-455e-9bcd-00ca1c79169d" providerId="AD" clId="Web-{013E0A89-7F5F-989C-8EED-2492151A5A29}" dt="2022-12-08T14:32:37.039" v="10" actId="20577"/>
          <ac:spMkLst>
            <pc:docMk/>
            <pc:sldMk cId="2476424142" sldId="617"/>
            <ac:spMk id="12" creationId="{48F37892-5511-499B-8B26-DB9E8D046D48}"/>
          </ac:spMkLst>
        </pc:spChg>
      </pc:sldChg>
    </pc:docChg>
  </pc:docChgLst>
  <pc:docChgLst>
    <pc:chgData name="Leah Selcer" userId="S::leah.selcer@neel-schaffer.com::ddebd5d7-5623-455e-9bcd-00ca1c79169d" providerId="AD" clId="Web-{6564AD16-085D-024B-7159-0DA625EC0DE0}"/>
    <pc:docChg chg="">
      <pc:chgData name="Leah Selcer" userId="S::leah.selcer@neel-schaffer.com::ddebd5d7-5623-455e-9bcd-00ca1c79169d" providerId="AD" clId="Web-{6564AD16-085D-024B-7159-0DA625EC0DE0}" dt="2022-12-13T23:54:10.973" v="0"/>
      <pc:docMkLst>
        <pc:docMk/>
      </pc:docMkLst>
      <pc:sldChg chg="modCm">
        <pc:chgData name="Leah Selcer" userId="S::leah.selcer@neel-schaffer.com::ddebd5d7-5623-455e-9bcd-00ca1c79169d" providerId="AD" clId="Web-{6564AD16-085D-024B-7159-0DA625EC0DE0}" dt="2022-12-13T23:54:10.973" v="0"/>
        <pc:sldMkLst>
          <pc:docMk/>
          <pc:sldMk cId="1566969012" sldId="618"/>
        </pc:sldMkLst>
      </pc:sldChg>
    </pc:docChg>
  </pc:docChgLst>
  <pc:docChgLst>
    <pc:chgData name="Leah Selcer" userId="S::leah.selcer@neel-schaffer.com::ddebd5d7-5623-455e-9bcd-00ca1c79169d" providerId="AD" clId="Web-{12D58596-1907-44CF-1D16-44CF8CE38885}"/>
    <pc:docChg chg="modSld">
      <pc:chgData name="Leah Selcer" userId="S::leah.selcer@neel-schaffer.com::ddebd5d7-5623-455e-9bcd-00ca1c79169d" providerId="AD" clId="Web-{12D58596-1907-44CF-1D16-44CF8CE38885}" dt="2022-12-13T18:59:04.929" v="3" actId="1076"/>
      <pc:docMkLst>
        <pc:docMk/>
      </pc:docMkLst>
      <pc:sldChg chg="addSp modSp delCm">
        <pc:chgData name="Leah Selcer" userId="S::leah.selcer@neel-schaffer.com::ddebd5d7-5623-455e-9bcd-00ca1c79169d" providerId="AD" clId="Web-{12D58596-1907-44CF-1D16-44CF8CE38885}" dt="2022-12-13T18:59:04.929" v="3" actId="1076"/>
        <pc:sldMkLst>
          <pc:docMk/>
          <pc:sldMk cId="550164615" sldId="558"/>
        </pc:sldMkLst>
        <pc:picChg chg="add mod">
          <ac:chgData name="Leah Selcer" userId="S::leah.selcer@neel-schaffer.com::ddebd5d7-5623-455e-9bcd-00ca1c79169d" providerId="AD" clId="Web-{12D58596-1907-44CF-1D16-44CF8CE38885}" dt="2022-12-13T18:59:04.929" v="3" actId="1076"/>
          <ac:picMkLst>
            <pc:docMk/>
            <pc:sldMk cId="550164615" sldId="558"/>
            <ac:picMk id="3" creationId="{3957D1A0-B15A-96BC-044E-B077A661DF8E}"/>
          </ac:picMkLst>
        </pc:picChg>
        <pc:picChg chg="mod">
          <ac:chgData name="Leah Selcer" userId="S::leah.selcer@neel-schaffer.com::ddebd5d7-5623-455e-9bcd-00ca1c79169d" providerId="AD" clId="Web-{12D58596-1907-44CF-1D16-44CF8CE38885}" dt="2022-12-13T18:59:00.398" v="1" actId="1076"/>
          <ac:picMkLst>
            <pc:docMk/>
            <pc:sldMk cId="550164615" sldId="558"/>
            <ac:picMk id="4" creationId="{97EE1B35-918E-4856-9E5D-3CA12568925C}"/>
          </ac:picMkLst>
        </pc:picChg>
      </pc:sldChg>
    </pc:docChg>
  </pc:docChgLst>
  <pc:docChgLst>
    <pc:chgData name="katie.freer@la.gov" userId="S::katie.freer_la.gov#ext#@sprintcloud1001092.onmicrosoft.com::4bbf2aad-bf49-45bc-a5ef-553704949c30" providerId="AD" clId="Web-{A7ACFFC1-50D6-FE58-D9DD-8524A1376B16}"/>
    <pc:docChg chg="modSld">
      <pc:chgData name="katie.freer@la.gov" userId="S::katie.freer_la.gov#ext#@sprintcloud1001092.onmicrosoft.com::4bbf2aad-bf49-45bc-a5ef-553704949c30" providerId="AD" clId="Web-{A7ACFFC1-50D6-FE58-D9DD-8524A1376B16}" dt="2022-12-13T23:51:48.927" v="12"/>
      <pc:docMkLst>
        <pc:docMk/>
      </pc:docMkLst>
      <pc:sldChg chg="modSp">
        <pc:chgData name="katie.freer@la.gov" userId="S::katie.freer_la.gov#ext#@sprintcloud1001092.onmicrosoft.com::4bbf2aad-bf49-45bc-a5ef-553704949c30" providerId="AD" clId="Web-{A7ACFFC1-50D6-FE58-D9DD-8524A1376B16}" dt="2022-12-13T23:48:26.623" v="11" actId="20577"/>
        <pc:sldMkLst>
          <pc:docMk/>
          <pc:sldMk cId="589566122" sldId="491"/>
        </pc:sldMkLst>
        <pc:spChg chg="mod">
          <ac:chgData name="katie.freer@la.gov" userId="S::katie.freer_la.gov#ext#@sprintcloud1001092.onmicrosoft.com::4bbf2aad-bf49-45bc-a5ef-553704949c30" providerId="AD" clId="Web-{A7ACFFC1-50D6-FE58-D9DD-8524A1376B16}" dt="2022-12-13T23:48:26.623" v="11" actId="20577"/>
          <ac:spMkLst>
            <pc:docMk/>
            <pc:sldMk cId="589566122" sldId="491"/>
            <ac:spMk id="3" creationId="{09A1F398-0840-0140-83CE-A611DB97F3EF}"/>
          </ac:spMkLst>
        </pc:spChg>
      </pc:sldChg>
      <pc:sldChg chg="modCm">
        <pc:chgData name="katie.freer@la.gov" userId="S::katie.freer_la.gov#ext#@sprintcloud1001092.onmicrosoft.com::4bbf2aad-bf49-45bc-a5ef-553704949c30" providerId="AD" clId="Web-{A7ACFFC1-50D6-FE58-D9DD-8524A1376B16}" dt="2022-12-13T23:17:08.498" v="2"/>
        <pc:sldMkLst>
          <pc:docMk/>
          <pc:sldMk cId="1551344687" sldId="584"/>
        </pc:sldMkLst>
      </pc:sldChg>
      <pc:sldChg chg="addCm">
        <pc:chgData name="katie.freer@la.gov" userId="S::katie.freer_la.gov#ext#@sprintcloud1001092.onmicrosoft.com::4bbf2aad-bf49-45bc-a5ef-553704949c30" providerId="AD" clId="Web-{A7ACFFC1-50D6-FE58-D9DD-8524A1376B16}" dt="2022-12-13T23:22:59.838" v="5"/>
        <pc:sldMkLst>
          <pc:docMk/>
          <pc:sldMk cId="3934733957" sldId="590"/>
        </pc:sldMkLst>
      </pc:sldChg>
      <pc:sldChg chg="modSp">
        <pc:chgData name="katie.freer@la.gov" userId="S::katie.freer_la.gov#ext#@sprintcloud1001092.onmicrosoft.com::4bbf2aad-bf49-45bc-a5ef-553704949c30" providerId="AD" clId="Web-{A7ACFFC1-50D6-FE58-D9DD-8524A1376B16}" dt="2022-12-13T23:28:29.787" v="6" actId="20577"/>
        <pc:sldMkLst>
          <pc:docMk/>
          <pc:sldMk cId="1260594065" sldId="615"/>
        </pc:sldMkLst>
        <pc:spChg chg="mod">
          <ac:chgData name="katie.freer@la.gov" userId="S::katie.freer_la.gov#ext#@sprintcloud1001092.onmicrosoft.com::4bbf2aad-bf49-45bc-a5ef-553704949c30" providerId="AD" clId="Web-{A7ACFFC1-50D6-FE58-D9DD-8524A1376B16}" dt="2022-12-13T23:28:29.787" v="6" actId="20577"/>
          <ac:spMkLst>
            <pc:docMk/>
            <pc:sldMk cId="1260594065" sldId="615"/>
            <ac:spMk id="10" creationId="{AFA7DCE7-A058-5172-FABD-182E2FDB5DE0}"/>
          </ac:spMkLst>
        </pc:spChg>
      </pc:sldChg>
      <pc:sldChg chg="modSp">
        <pc:chgData name="katie.freer@la.gov" userId="S::katie.freer_la.gov#ext#@sprintcloud1001092.onmicrosoft.com::4bbf2aad-bf49-45bc-a5ef-553704949c30" providerId="AD" clId="Web-{A7ACFFC1-50D6-FE58-D9DD-8524A1376B16}" dt="2022-12-13T23:16:01.496" v="1" actId="20577"/>
        <pc:sldMkLst>
          <pc:docMk/>
          <pc:sldMk cId="2476424142" sldId="617"/>
        </pc:sldMkLst>
        <pc:spChg chg="mod">
          <ac:chgData name="katie.freer@la.gov" userId="S::katie.freer_la.gov#ext#@sprintcloud1001092.onmicrosoft.com::4bbf2aad-bf49-45bc-a5ef-553704949c30" providerId="AD" clId="Web-{A7ACFFC1-50D6-FE58-D9DD-8524A1376B16}" dt="2022-12-13T23:16:01.496" v="1" actId="20577"/>
          <ac:spMkLst>
            <pc:docMk/>
            <pc:sldMk cId="2476424142" sldId="617"/>
            <ac:spMk id="12" creationId="{48F37892-5511-499B-8B26-DB9E8D046D48}"/>
          </ac:spMkLst>
        </pc:spChg>
      </pc:sldChg>
      <pc:sldChg chg="modCm">
        <pc:chgData name="katie.freer@la.gov" userId="S::katie.freer_la.gov#ext#@sprintcloud1001092.onmicrosoft.com::4bbf2aad-bf49-45bc-a5ef-553704949c30" providerId="AD" clId="Web-{A7ACFFC1-50D6-FE58-D9DD-8524A1376B16}" dt="2022-12-13T23:17:47.406" v="3"/>
        <pc:sldMkLst>
          <pc:docMk/>
          <pc:sldMk cId="3398086154" sldId="627"/>
        </pc:sldMkLst>
      </pc:sldChg>
      <pc:sldChg chg="addCm">
        <pc:chgData name="katie.freer@la.gov" userId="S::katie.freer_la.gov#ext#@sprintcloud1001092.onmicrosoft.com::4bbf2aad-bf49-45bc-a5ef-553704949c30" providerId="AD" clId="Web-{A7ACFFC1-50D6-FE58-D9DD-8524A1376B16}" dt="2022-12-13T23:18:06.625" v="4"/>
        <pc:sldMkLst>
          <pc:docMk/>
          <pc:sldMk cId="3051637077" sldId="642"/>
        </pc:sldMkLst>
      </pc:sldChg>
      <pc:sldChg chg="modCm">
        <pc:chgData name="katie.freer@la.gov" userId="S::katie.freer_la.gov#ext#@sprintcloud1001092.onmicrosoft.com::4bbf2aad-bf49-45bc-a5ef-553704949c30" providerId="AD" clId="Web-{A7ACFFC1-50D6-FE58-D9DD-8524A1376B16}" dt="2022-12-13T23:51:48.927" v="12"/>
        <pc:sldMkLst>
          <pc:docMk/>
          <pc:sldMk cId="1533576855" sldId="648"/>
        </pc:sldMkLst>
      </pc:sldChg>
    </pc:docChg>
  </pc:docChgLst>
  <pc:docChgLst>
    <pc:chgData name="Leah Selcer" userId="S::leah.selcer@neel-schaffer.com::ddebd5d7-5623-455e-9bcd-00ca1c79169d" providerId="AD" clId="Web-{67FF9CFF-D595-680D-D91C-E8134788EB72}"/>
    <pc:docChg chg="modSld">
      <pc:chgData name="Leah Selcer" userId="S::leah.selcer@neel-schaffer.com::ddebd5d7-5623-455e-9bcd-00ca1c79169d" providerId="AD" clId="Web-{67FF9CFF-D595-680D-D91C-E8134788EB72}" dt="2022-12-06T22:57:12.154" v="25" actId="20577"/>
      <pc:docMkLst>
        <pc:docMk/>
      </pc:docMkLst>
      <pc:sldChg chg="addSp delSp modSp">
        <pc:chgData name="Leah Selcer" userId="S::leah.selcer@neel-schaffer.com::ddebd5d7-5623-455e-9bcd-00ca1c79169d" providerId="AD" clId="Web-{67FF9CFF-D595-680D-D91C-E8134788EB72}" dt="2022-12-06T22:54:58.634" v="9" actId="1076"/>
        <pc:sldMkLst>
          <pc:docMk/>
          <pc:sldMk cId="916288481" sldId="477"/>
        </pc:sldMkLst>
        <pc:spChg chg="del mod">
          <ac:chgData name="Leah Selcer" userId="S::leah.selcer@neel-schaffer.com::ddebd5d7-5623-455e-9bcd-00ca1c79169d" providerId="AD" clId="Web-{67FF9CFF-D595-680D-D91C-E8134788EB72}" dt="2022-12-06T22:54:46.446" v="3"/>
          <ac:spMkLst>
            <pc:docMk/>
            <pc:sldMk cId="916288481" sldId="477"/>
            <ac:spMk id="6" creationId="{81854A30-DA56-34FB-D967-DACAAE09E636}"/>
          </ac:spMkLst>
        </pc:spChg>
        <pc:picChg chg="del">
          <ac:chgData name="Leah Selcer" userId="S::leah.selcer@neel-schaffer.com::ddebd5d7-5623-455e-9bcd-00ca1c79169d" providerId="AD" clId="Web-{67FF9CFF-D595-680D-D91C-E8134788EB72}" dt="2022-12-06T22:54:46.915" v="4"/>
          <ac:picMkLst>
            <pc:docMk/>
            <pc:sldMk cId="916288481" sldId="477"/>
            <ac:picMk id="4" creationId="{43C2BD65-A5C1-49E1-AB7A-184D2EB29FC5}"/>
          </ac:picMkLst>
        </pc:picChg>
        <pc:picChg chg="del">
          <ac:chgData name="Leah Selcer" userId="S::leah.selcer@neel-schaffer.com::ddebd5d7-5623-455e-9bcd-00ca1c79169d" providerId="AD" clId="Web-{67FF9CFF-D595-680D-D91C-E8134788EB72}" dt="2022-12-06T22:54:47.837" v="5"/>
          <ac:picMkLst>
            <pc:docMk/>
            <pc:sldMk cId="916288481" sldId="477"/>
            <ac:picMk id="5" creationId="{8F165DDD-3452-4E59-A5E0-6C4A7F89B7B8}"/>
          </ac:picMkLst>
        </pc:picChg>
        <pc:picChg chg="add mod">
          <ac:chgData name="Leah Selcer" userId="S::leah.selcer@neel-schaffer.com::ddebd5d7-5623-455e-9bcd-00ca1c79169d" providerId="AD" clId="Web-{67FF9CFF-D595-680D-D91C-E8134788EB72}" dt="2022-12-06T22:54:58.634" v="9" actId="1076"/>
          <ac:picMkLst>
            <pc:docMk/>
            <pc:sldMk cId="916288481" sldId="477"/>
            <ac:picMk id="7" creationId="{0F823E98-43D0-9FF2-DC30-241CFB289366}"/>
          </ac:picMkLst>
        </pc:picChg>
      </pc:sldChg>
      <pc:sldChg chg="modSp">
        <pc:chgData name="Leah Selcer" userId="S::leah.selcer@neel-schaffer.com::ddebd5d7-5623-455e-9bcd-00ca1c79169d" providerId="AD" clId="Web-{67FF9CFF-D595-680D-D91C-E8134788EB72}" dt="2022-12-06T22:57:12.154" v="25" actId="20577"/>
        <pc:sldMkLst>
          <pc:docMk/>
          <pc:sldMk cId="682800000" sldId="579"/>
        </pc:sldMkLst>
        <pc:graphicFrameChg chg="modGraphic">
          <ac:chgData name="Leah Selcer" userId="S::leah.selcer@neel-schaffer.com::ddebd5d7-5623-455e-9bcd-00ca1c79169d" providerId="AD" clId="Web-{67FF9CFF-D595-680D-D91C-E8134788EB72}" dt="2022-12-06T22:57:12.154" v="25" actId="20577"/>
          <ac:graphicFrameMkLst>
            <pc:docMk/>
            <pc:sldMk cId="682800000" sldId="579"/>
            <ac:graphicFrameMk id="5" creationId="{E824A7AC-13CF-4349-A9E1-728CA58A20CB}"/>
          </ac:graphicFrameMkLst>
        </pc:graphicFrameChg>
      </pc:sldChg>
      <pc:sldChg chg="modSp">
        <pc:chgData name="Leah Selcer" userId="S::leah.selcer@neel-schaffer.com::ddebd5d7-5623-455e-9bcd-00ca1c79169d" providerId="AD" clId="Web-{67FF9CFF-D595-680D-D91C-E8134788EB72}" dt="2022-12-06T22:57:10.200" v="24" actId="1076"/>
        <pc:sldMkLst>
          <pc:docMk/>
          <pc:sldMk cId="2895423667" sldId="613"/>
        </pc:sldMkLst>
        <pc:spChg chg="mod">
          <ac:chgData name="Leah Selcer" userId="S::leah.selcer@neel-schaffer.com::ddebd5d7-5623-455e-9bcd-00ca1c79169d" providerId="AD" clId="Web-{67FF9CFF-D595-680D-D91C-E8134788EB72}" dt="2022-12-06T22:57:06.044" v="22" actId="14100"/>
          <ac:spMkLst>
            <pc:docMk/>
            <pc:sldMk cId="2895423667" sldId="613"/>
            <ac:spMk id="12" creationId="{48F37892-5511-499B-8B26-DB9E8D046D48}"/>
          </ac:spMkLst>
        </pc:spChg>
        <pc:picChg chg="mod">
          <ac:chgData name="Leah Selcer" userId="S::leah.selcer@neel-schaffer.com::ddebd5d7-5623-455e-9bcd-00ca1c79169d" providerId="AD" clId="Web-{67FF9CFF-D595-680D-D91C-E8134788EB72}" dt="2022-12-06T22:57:07.919" v="23" actId="1076"/>
          <ac:picMkLst>
            <pc:docMk/>
            <pc:sldMk cId="2895423667" sldId="613"/>
            <ac:picMk id="4" creationId="{C17104BC-4C6A-4AFD-950C-649AB40EEA77}"/>
          </ac:picMkLst>
        </pc:picChg>
        <pc:picChg chg="mod">
          <ac:chgData name="Leah Selcer" userId="S::leah.selcer@neel-schaffer.com::ddebd5d7-5623-455e-9bcd-00ca1c79169d" providerId="AD" clId="Web-{67FF9CFF-D595-680D-D91C-E8134788EB72}" dt="2022-12-06T22:57:10.200" v="24" actId="1076"/>
          <ac:picMkLst>
            <pc:docMk/>
            <pc:sldMk cId="2895423667" sldId="613"/>
            <ac:picMk id="7" creationId="{21AD3BD8-B800-B131-1D29-54E527316147}"/>
          </ac:picMkLst>
        </pc:picChg>
      </pc:sldChg>
    </pc:docChg>
  </pc:docChgLst>
  <pc:docChgLst>
    <pc:chgData name="Leah Selcer" userId="S::leah.selcer@neel-schaffer.com::ddebd5d7-5623-455e-9bcd-00ca1c79169d" providerId="AD" clId="Web-{1E666C4F-33F1-5783-1B43-1C7F2586FEA1}"/>
    <pc:docChg chg="addSld modSld modSection">
      <pc:chgData name="Leah Selcer" userId="S::leah.selcer@neel-schaffer.com::ddebd5d7-5623-455e-9bcd-00ca1c79169d" providerId="AD" clId="Web-{1E666C4F-33F1-5783-1B43-1C7F2586FEA1}" dt="2022-12-13T13:52:45.404" v="20" actId="1076"/>
      <pc:docMkLst>
        <pc:docMk/>
      </pc:docMkLst>
      <pc:sldChg chg="delSp modSp">
        <pc:chgData name="Leah Selcer" userId="S::leah.selcer@neel-schaffer.com::ddebd5d7-5623-455e-9bcd-00ca1c79169d" providerId="AD" clId="Web-{1E666C4F-33F1-5783-1B43-1C7F2586FEA1}" dt="2022-12-13T13:52:45.404" v="20" actId="1076"/>
        <pc:sldMkLst>
          <pc:docMk/>
          <pc:sldMk cId="3558309199" sldId="625"/>
        </pc:sldMkLst>
        <pc:spChg chg="mod">
          <ac:chgData name="Leah Selcer" userId="S::leah.selcer@neel-schaffer.com::ddebd5d7-5623-455e-9bcd-00ca1c79169d" providerId="AD" clId="Web-{1E666C4F-33F1-5783-1B43-1C7F2586FEA1}" dt="2022-12-13T13:52:41.451" v="19" actId="20577"/>
          <ac:spMkLst>
            <pc:docMk/>
            <pc:sldMk cId="3558309199" sldId="625"/>
            <ac:spMk id="7" creationId="{02BEB3C0-0385-6905-7C22-5DAE4A489947}"/>
          </ac:spMkLst>
        </pc:spChg>
        <pc:picChg chg="mod">
          <ac:chgData name="Leah Selcer" userId="S::leah.selcer@neel-schaffer.com::ddebd5d7-5623-455e-9bcd-00ca1c79169d" providerId="AD" clId="Web-{1E666C4F-33F1-5783-1B43-1C7F2586FEA1}" dt="2022-12-13T13:52:45.404" v="20" actId="1076"/>
          <ac:picMkLst>
            <pc:docMk/>
            <pc:sldMk cId="3558309199" sldId="625"/>
            <ac:picMk id="4" creationId="{88D3AD7E-07E0-AE12-4FAF-DFDF426AEF4A}"/>
          </ac:picMkLst>
        </pc:picChg>
        <pc:picChg chg="del">
          <ac:chgData name="Leah Selcer" userId="S::leah.selcer@neel-schaffer.com::ddebd5d7-5623-455e-9bcd-00ca1c79169d" providerId="AD" clId="Web-{1E666C4F-33F1-5783-1B43-1C7F2586FEA1}" dt="2022-12-13T13:52:21.856" v="1"/>
          <ac:picMkLst>
            <pc:docMk/>
            <pc:sldMk cId="3558309199" sldId="625"/>
            <ac:picMk id="6" creationId="{8099DBC5-3C66-AEF8-C7BB-FEC1429CECB5}"/>
          </ac:picMkLst>
        </pc:picChg>
        <pc:picChg chg="del">
          <ac:chgData name="Leah Selcer" userId="S::leah.selcer@neel-schaffer.com::ddebd5d7-5623-455e-9bcd-00ca1c79169d" providerId="AD" clId="Web-{1E666C4F-33F1-5783-1B43-1C7F2586FEA1}" dt="2022-12-13T13:52:22.216" v="2"/>
          <ac:picMkLst>
            <pc:docMk/>
            <pc:sldMk cId="3558309199" sldId="625"/>
            <ac:picMk id="9" creationId="{194858D2-DB88-8498-8468-1494AE388C5A}"/>
          </ac:picMkLst>
        </pc:picChg>
      </pc:sldChg>
      <pc:sldChg chg="add replId">
        <pc:chgData name="Leah Selcer" userId="S::leah.selcer@neel-schaffer.com::ddebd5d7-5623-455e-9bcd-00ca1c79169d" providerId="AD" clId="Web-{1E666C4F-33F1-5783-1B43-1C7F2586FEA1}" dt="2022-12-13T13:52:19.747" v="0"/>
        <pc:sldMkLst>
          <pc:docMk/>
          <pc:sldMk cId="2595045526" sldId="640"/>
        </pc:sldMkLst>
      </pc:sldChg>
    </pc:docChg>
  </pc:docChgLst>
  <pc:docChgLst>
    <pc:chgData name="Leah Selcer" userId="ddebd5d7-5623-455e-9bcd-00ca1c79169d" providerId="ADAL" clId="{870F73E5-8B1F-4EBC-BB3D-AC1D48A0A8F9}"/>
    <pc:docChg chg="undo redo custSel addSld delSld modSld sldOrd modSection">
      <pc:chgData name="Leah Selcer" userId="ddebd5d7-5623-455e-9bcd-00ca1c79169d" providerId="ADAL" clId="{870F73E5-8B1F-4EBC-BB3D-AC1D48A0A8F9}" dt="2022-12-15T14:00:14.975" v="1308" actId="6549"/>
      <pc:docMkLst>
        <pc:docMk/>
      </pc:docMkLst>
      <pc:sldChg chg="delSp modSp mod">
        <pc:chgData name="Leah Selcer" userId="ddebd5d7-5623-455e-9bcd-00ca1c79169d" providerId="ADAL" clId="{870F73E5-8B1F-4EBC-BB3D-AC1D48A0A8F9}" dt="2022-12-13T19:00:00.801" v="662" actId="1076"/>
        <pc:sldMkLst>
          <pc:docMk/>
          <pc:sldMk cId="550164615" sldId="558"/>
        </pc:sldMkLst>
        <pc:graphicFrameChg chg="mod">
          <ac:chgData name="Leah Selcer" userId="ddebd5d7-5623-455e-9bcd-00ca1c79169d" providerId="ADAL" clId="{870F73E5-8B1F-4EBC-BB3D-AC1D48A0A8F9}" dt="2022-12-13T18:59:54.132" v="661" actId="1076"/>
          <ac:graphicFrameMkLst>
            <pc:docMk/>
            <pc:sldMk cId="550164615" sldId="558"/>
            <ac:graphicFrameMk id="5" creationId="{AC98BE80-4330-43CD-A251-2AFCAAAD8984}"/>
          </ac:graphicFrameMkLst>
        </pc:graphicFrameChg>
        <pc:picChg chg="mod ord">
          <ac:chgData name="Leah Selcer" userId="ddebd5d7-5623-455e-9bcd-00ca1c79169d" providerId="ADAL" clId="{870F73E5-8B1F-4EBC-BB3D-AC1D48A0A8F9}" dt="2022-12-13T18:59:51.508" v="660" actId="1076"/>
          <ac:picMkLst>
            <pc:docMk/>
            <pc:sldMk cId="550164615" sldId="558"/>
            <ac:picMk id="3" creationId="{3957D1A0-B15A-96BC-044E-B077A661DF8E}"/>
          </ac:picMkLst>
        </pc:picChg>
        <pc:picChg chg="del mod">
          <ac:chgData name="Leah Selcer" userId="ddebd5d7-5623-455e-9bcd-00ca1c79169d" providerId="ADAL" clId="{870F73E5-8B1F-4EBC-BB3D-AC1D48A0A8F9}" dt="2022-12-13T18:59:26.913" v="654" actId="478"/>
          <ac:picMkLst>
            <pc:docMk/>
            <pc:sldMk cId="550164615" sldId="558"/>
            <ac:picMk id="4" creationId="{97EE1B35-918E-4856-9E5D-3CA12568925C}"/>
          </ac:picMkLst>
        </pc:picChg>
        <pc:picChg chg="mod">
          <ac:chgData name="Leah Selcer" userId="ddebd5d7-5623-455e-9bcd-00ca1c79169d" providerId="ADAL" clId="{870F73E5-8B1F-4EBC-BB3D-AC1D48A0A8F9}" dt="2022-12-13T19:00:00.801" v="662" actId="1076"/>
          <ac:picMkLst>
            <pc:docMk/>
            <pc:sldMk cId="550164615" sldId="558"/>
            <ac:picMk id="6" creationId="{46CCDA9B-CD25-4D35-B151-0B0B69438226}"/>
          </ac:picMkLst>
        </pc:picChg>
      </pc:sldChg>
      <pc:sldChg chg="addSp delSp modSp mod">
        <pc:chgData name="Leah Selcer" userId="ddebd5d7-5623-455e-9bcd-00ca1c79169d" providerId="ADAL" clId="{870F73E5-8B1F-4EBC-BB3D-AC1D48A0A8F9}" dt="2022-12-08T15:09:30.786" v="3"/>
        <pc:sldMkLst>
          <pc:docMk/>
          <pc:sldMk cId="82294556" sldId="566"/>
        </pc:sldMkLst>
        <pc:spChg chg="del">
          <ac:chgData name="Leah Selcer" userId="ddebd5d7-5623-455e-9bcd-00ca1c79169d" providerId="ADAL" clId="{870F73E5-8B1F-4EBC-BB3D-AC1D48A0A8F9}" dt="2022-12-08T15:09:26.784" v="2" actId="478"/>
          <ac:spMkLst>
            <pc:docMk/>
            <pc:sldMk cId="82294556" sldId="566"/>
            <ac:spMk id="3" creationId="{415BA061-3BB6-9193-3649-AABEE3EF58FB}"/>
          </ac:spMkLst>
        </pc:spChg>
        <pc:graphicFrameChg chg="add mod ord">
          <ac:chgData name="Leah Selcer" userId="ddebd5d7-5623-455e-9bcd-00ca1c79169d" providerId="ADAL" clId="{870F73E5-8B1F-4EBC-BB3D-AC1D48A0A8F9}" dt="2022-12-08T15:09:24.341" v="1" actId="167"/>
          <ac:graphicFrameMkLst>
            <pc:docMk/>
            <pc:sldMk cId="82294556" sldId="566"/>
            <ac:graphicFrameMk id="4" creationId="{71529B3F-BF68-8C7E-E654-1ACB78E0260F}"/>
          </ac:graphicFrameMkLst>
        </pc:graphicFrameChg>
        <pc:graphicFrameChg chg="add mod">
          <ac:chgData name="Leah Selcer" userId="ddebd5d7-5623-455e-9bcd-00ca1c79169d" providerId="ADAL" clId="{870F73E5-8B1F-4EBC-BB3D-AC1D48A0A8F9}" dt="2022-12-08T15:09:30.786" v="3"/>
          <ac:graphicFrameMkLst>
            <pc:docMk/>
            <pc:sldMk cId="82294556" sldId="566"/>
            <ac:graphicFrameMk id="5" creationId="{91AD16D8-B6E8-07A8-6149-2BC562CF6074}"/>
          </ac:graphicFrameMkLst>
        </pc:graphicFrameChg>
      </pc:sldChg>
      <pc:sldChg chg="modSp">
        <pc:chgData name="Leah Selcer" userId="ddebd5d7-5623-455e-9bcd-00ca1c79169d" providerId="ADAL" clId="{870F73E5-8B1F-4EBC-BB3D-AC1D48A0A8F9}" dt="2022-12-15T13:51:22.408" v="1173"/>
        <pc:sldMkLst>
          <pc:docMk/>
          <pc:sldMk cId="682800000" sldId="579"/>
        </pc:sldMkLst>
        <pc:graphicFrameChg chg="mod">
          <ac:chgData name="Leah Selcer" userId="ddebd5d7-5623-455e-9bcd-00ca1c79169d" providerId="ADAL" clId="{870F73E5-8B1F-4EBC-BB3D-AC1D48A0A8F9}" dt="2022-12-15T13:51:22.408" v="1173"/>
          <ac:graphicFrameMkLst>
            <pc:docMk/>
            <pc:sldMk cId="682800000" sldId="579"/>
            <ac:graphicFrameMk id="5" creationId="{E824A7AC-13CF-4349-A9E1-728CA58A20CB}"/>
          </ac:graphicFrameMkLst>
        </pc:graphicFrameChg>
      </pc:sldChg>
      <pc:sldChg chg="modSp mod delCm modCm">
        <pc:chgData name="Leah Selcer" userId="ddebd5d7-5623-455e-9bcd-00ca1c79169d" providerId="ADAL" clId="{870F73E5-8B1F-4EBC-BB3D-AC1D48A0A8F9}" dt="2022-12-15T00:21:21.357" v="1038"/>
        <pc:sldMkLst>
          <pc:docMk/>
          <pc:sldMk cId="3934733957" sldId="590"/>
        </pc:sldMkLst>
        <pc:spChg chg="mod">
          <ac:chgData name="Leah Selcer" userId="ddebd5d7-5623-455e-9bcd-00ca1c79169d" providerId="ADAL" clId="{870F73E5-8B1F-4EBC-BB3D-AC1D48A0A8F9}" dt="2022-12-14T00:15:39.895" v="945" actId="6549"/>
          <ac:spMkLst>
            <pc:docMk/>
            <pc:sldMk cId="3934733957" sldId="590"/>
            <ac:spMk id="5" creationId="{CC29257F-AA75-7C13-B4C4-BD52DF5F02BD}"/>
          </ac:spMkLst>
        </pc:spChg>
        <pc:spChg chg="mod">
          <ac:chgData name="Leah Selcer" userId="ddebd5d7-5623-455e-9bcd-00ca1c79169d" providerId="ADAL" clId="{870F73E5-8B1F-4EBC-BB3D-AC1D48A0A8F9}" dt="2022-12-14T00:08:13.566" v="928" actId="20577"/>
          <ac:spMkLst>
            <pc:docMk/>
            <pc:sldMk cId="3934733957" sldId="590"/>
            <ac:spMk id="7" creationId="{14049432-A5B5-4D51-869A-D1C05FB2DB5E}"/>
          </ac:spMkLst>
        </pc:spChg>
      </pc:sldChg>
      <pc:sldChg chg="addSp delSp modSp mod">
        <pc:chgData name="Leah Selcer" userId="ddebd5d7-5623-455e-9bcd-00ca1c79169d" providerId="ADAL" clId="{870F73E5-8B1F-4EBC-BB3D-AC1D48A0A8F9}" dt="2022-12-15T14:00:14.975" v="1308" actId="6549"/>
        <pc:sldMkLst>
          <pc:docMk/>
          <pc:sldMk cId="4216336834" sldId="603"/>
        </pc:sldMkLst>
        <pc:spChg chg="mod">
          <ac:chgData name="Leah Selcer" userId="ddebd5d7-5623-455e-9bcd-00ca1c79169d" providerId="ADAL" clId="{870F73E5-8B1F-4EBC-BB3D-AC1D48A0A8F9}" dt="2022-12-15T14:00:14.975" v="1308" actId="6549"/>
          <ac:spMkLst>
            <pc:docMk/>
            <pc:sldMk cId="4216336834" sldId="603"/>
            <ac:spMk id="2" creationId="{F7347354-9C9F-8428-057D-631E0AA4EB16}"/>
          </ac:spMkLst>
        </pc:spChg>
        <pc:spChg chg="add mod">
          <ac:chgData name="Leah Selcer" userId="ddebd5d7-5623-455e-9bcd-00ca1c79169d" providerId="ADAL" clId="{870F73E5-8B1F-4EBC-BB3D-AC1D48A0A8F9}" dt="2022-12-15T13:51:48.409" v="1176" actId="1076"/>
          <ac:spMkLst>
            <pc:docMk/>
            <pc:sldMk cId="4216336834" sldId="603"/>
            <ac:spMk id="6" creationId="{FAF08233-DCCE-96F2-F298-034370E951A8}"/>
          </ac:spMkLst>
        </pc:spChg>
        <pc:spChg chg="add mod">
          <ac:chgData name="Leah Selcer" userId="ddebd5d7-5623-455e-9bcd-00ca1c79169d" providerId="ADAL" clId="{870F73E5-8B1F-4EBC-BB3D-AC1D48A0A8F9}" dt="2022-12-15T13:51:48.409" v="1176" actId="1076"/>
          <ac:spMkLst>
            <pc:docMk/>
            <pc:sldMk cId="4216336834" sldId="603"/>
            <ac:spMk id="8" creationId="{8CA1BE9A-C816-1DEA-82EE-5573C62BBA92}"/>
          </ac:spMkLst>
        </pc:spChg>
        <pc:spChg chg="add del mod">
          <ac:chgData name="Leah Selcer" userId="ddebd5d7-5623-455e-9bcd-00ca1c79169d" providerId="ADAL" clId="{870F73E5-8B1F-4EBC-BB3D-AC1D48A0A8F9}" dt="2022-12-15T13:18:13.201" v="1061"/>
          <ac:spMkLst>
            <pc:docMk/>
            <pc:sldMk cId="4216336834" sldId="603"/>
            <ac:spMk id="9" creationId="{BD82119B-2B4A-68A3-A656-F1C44F33069F}"/>
          </ac:spMkLst>
        </pc:spChg>
        <pc:spChg chg="add del mod">
          <ac:chgData name="Leah Selcer" userId="ddebd5d7-5623-455e-9bcd-00ca1c79169d" providerId="ADAL" clId="{870F73E5-8B1F-4EBC-BB3D-AC1D48A0A8F9}" dt="2022-12-15T13:18:13.201" v="1061"/>
          <ac:spMkLst>
            <pc:docMk/>
            <pc:sldMk cId="4216336834" sldId="603"/>
            <ac:spMk id="11" creationId="{3ED22D37-C667-3E83-195D-8BD1AB8C3903}"/>
          </ac:spMkLst>
        </pc:spChg>
        <pc:spChg chg="add mod">
          <ac:chgData name="Leah Selcer" userId="ddebd5d7-5623-455e-9bcd-00ca1c79169d" providerId="ADAL" clId="{870F73E5-8B1F-4EBC-BB3D-AC1D48A0A8F9}" dt="2022-12-15T13:51:48.409" v="1176" actId="1076"/>
          <ac:spMkLst>
            <pc:docMk/>
            <pc:sldMk cId="4216336834" sldId="603"/>
            <ac:spMk id="12" creationId="{63488B74-3E3D-0EF6-94F3-764A82971D9B}"/>
          </ac:spMkLst>
        </pc:spChg>
        <pc:spChg chg="add mod">
          <ac:chgData name="Leah Selcer" userId="ddebd5d7-5623-455e-9bcd-00ca1c79169d" providerId="ADAL" clId="{870F73E5-8B1F-4EBC-BB3D-AC1D48A0A8F9}" dt="2022-12-15T13:23:26.068" v="1171" actId="1076"/>
          <ac:spMkLst>
            <pc:docMk/>
            <pc:sldMk cId="4216336834" sldId="603"/>
            <ac:spMk id="13" creationId="{44BFF3A0-0424-4C1F-A457-D172A29A32B3}"/>
          </ac:spMkLst>
        </pc:spChg>
        <pc:graphicFrameChg chg="mod">
          <ac:chgData name="Leah Selcer" userId="ddebd5d7-5623-455e-9bcd-00ca1c79169d" providerId="ADAL" clId="{870F73E5-8B1F-4EBC-BB3D-AC1D48A0A8F9}" dt="2022-12-15T13:16:55.472" v="1044" actId="1076"/>
          <ac:graphicFrameMkLst>
            <pc:docMk/>
            <pc:sldMk cId="4216336834" sldId="603"/>
            <ac:graphicFrameMk id="4" creationId="{7944E22D-7FCD-4F2B-BF54-E89AB1A21F88}"/>
          </ac:graphicFrameMkLst>
        </pc:graphicFrameChg>
        <pc:picChg chg="add mod ord modCrop">
          <ac:chgData name="Leah Selcer" userId="ddebd5d7-5623-455e-9bcd-00ca1c79169d" providerId="ADAL" clId="{870F73E5-8B1F-4EBC-BB3D-AC1D48A0A8F9}" dt="2022-12-15T13:51:48.409" v="1176" actId="1076"/>
          <ac:picMkLst>
            <pc:docMk/>
            <pc:sldMk cId="4216336834" sldId="603"/>
            <ac:picMk id="5" creationId="{B8E93F6A-4F33-F1DC-D318-2A903F22E6DD}"/>
          </ac:picMkLst>
        </pc:picChg>
      </pc:sldChg>
      <pc:sldChg chg="modSp mod">
        <pc:chgData name="Leah Selcer" userId="ddebd5d7-5623-455e-9bcd-00ca1c79169d" providerId="ADAL" clId="{870F73E5-8B1F-4EBC-BB3D-AC1D48A0A8F9}" dt="2022-12-15T00:28:32.915" v="1043"/>
        <pc:sldMkLst>
          <pc:docMk/>
          <pc:sldMk cId="1260594065" sldId="615"/>
        </pc:sldMkLst>
        <pc:spChg chg="mod">
          <ac:chgData name="Leah Selcer" userId="ddebd5d7-5623-455e-9bcd-00ca1c79169d" providerId="ADAL" clId="{870F73E5-8B1F-4EBC-BB3D-AC1D48A0A8F9}" dt="2022-12-15T00:28:32.915" v="1043"/>
          <ac:spMkLst>
            <pc:docMk/>
            <pc:sldMk cId="1260594065" sldId="615"/>
            <ac:spMk id="2" creationId="{F7347354-9C9F-8428-057D-631E0AA4EB16}"/>
          </ac:spMkLst>
        </pc:spChg>
        <pc:spChg chg="mod">
          <ac:chgData name="Leah Selcer" userId="ddebd5d7-5623-455e-9bcd-00ca1c79169d" providerId="ADAL" clId="{870F73E5-8B1F-4EBC-BB3D-AC1D48A0A8F9}" dt="2022-12-13T23:17:37.019" v="846"/>
          <ac:spMkLst>
            <pc:docMk/>
            <pc:sldMk cId="1260594065" sldId="615"/>
            <ac:spMk id="10" creationId="{AFA7DCE7-A058-5172-FABD-182E2FDB5DE0}"/>
          </ac:spMkLst>
        </pc:spChg>
      </pc:sldChg>
      <pc:sldChg chg="addSp delSp modSp mod delCm">
        <pc:chgData name="Leah Selcer" userId="ddebd5d7-5623-455e-9bcd-00ca1c79169d" providerId="ADAL" clId="{870F73E5-8B1F-4EBC-BB3D-AC1D48A0A8F9}" dt="2022-12-14T19:19:55.055" v="1032"/>
        <pc:sldMkLst>
          <pc:docMk/>
          <pc:sldMk cId="2476424142" sldId="617"/>
        </pc:sldMkLst>
        <pc:spChg chg="del">
          <ac:chgData name="Leah Selcer" userId="ddebd5d7-5623-455e-9bcd-00ca1c79169d" providerId="ADAL" clId="{870F73E5-8B1F-4EBC-BB3D-AC1D48A0A8F9}" dt="2022-12-14T19:19:20.456" v="1025" actId="478"/>
          <ac:spMkLst>
            <pc:docMk/>
            <pc:sldMk cId="2476424142" sldId="617"/>
            <ac:spMk id="3" creationId="{5BD4362B-6373-B6F9-C57F-6DFD579B1792}"/>
          </ac:spMkLst>
        </pc:spChg>
        <pc:spChg chg="add mod">
          <ac:chgData name="Leah Selcer" userId="ddebd5d7-5623-455e-9bcd-00ca1c79169d" providerId="ADAL" clId="{870F73E5-8B1F-4EBC-BB3D-AC1D48A0A8F9}" dt="2022-12-14T19:19:29.802" v="1029"/>
          <ac:spMkLst>
            <pc:docMk/>
            <pc:sldMk cId="2476424142" sldId="617"/>
            <ac:spMk id="4" creationId="{CFCD6999-5D80-6479-7CAA-BC6655896176}"/>
          </ac:spMkLst>
        </pc:spChg>
        <pc:spChg chg="add mod">
          <ac:chgData name="Leah Selcer" userId="ddebd5d7-5623-455e-9bcd-00ca1c79169d" providerId="ADAL" clId="{870F73E5-8B1F-4EBC-BB3D-AC1D48A0A8F9}" dt="2022-12-14T19:19:40.530" v="1030"/>
          <ac:spMkLst>
            <pc:docMk/>
            <pc:sldMk cId="2476424142" sldId="617"/>
            <ac:spMk id="9" creationId="{25C92DED-1E75-A23F-BED6-79DF51BE2E5E}"/>
          </ac:spMkLst>
        </pc:spChg>
        <pc:spChg chg="del">
          <ac:chgData name="Leah Selcer" userId="ddebd5d7-5623-455e-9bcd-00ca1c79169d" providerId="ADAL" clId="{870F73E5-8B1F-4EBC-BB3D-AC1D48A0A8F9}" dt="2022-12-14T19:19:22.813" v="1028" actId="478"/>
          <ac:spMkLst>
            <pc:docMk/>
            <pc:sldMk cId="2476424142" sldId="617"/>
            <ac:spMk id="12" creationId="{48F37892-5511-499B-8B26-DB9E8D046D48}"/>
          </ac:spMkLst>
        </pc:spChg>
        <pc:spChg chg="add mod">
          <ac:chgData name="Leah Selcer" userId="ddebd5d7-5623-455e-9bcd-00ca1c79169d" providerId="ADAL" clId="{870F73E5-8B1F-4EBC-BB3D-AC1D48A0A8F9}" dt="2022-12-14T19:19:49.716" v="1031"/>
          <ac:spMkLst>
            <pc:docMk/>
            <pc:sldMk cId="2476424142" sldId="617"/>
            <ac:spMk id="18" creationId="{B9DD336F-EE36-A594-B0F0-1ED1F087E73A}"/>
          </ac:spMkLst>
        </pc:spChg>
        <pc:picChg chg="del">
          <ac:chgData name="Leah Selcer" userId="ddebd5d7-5623-455e-9bcd-00ca1c79169d" providerId="ADAL" clId="{870F73E5-8B1F-4EBC-BB3D-AC1D48A0A8F9}" dt="2022-12-14T19:19:18.197" v="1023" actId="478"/>
          <ac:picMkLst>
            <pc:docMk/>
            <pc:sldMk cId="2476424142" sldId="617"/>
            <ac:picMk id="5" creationId="{C455A034-6F91-BE66-F5FD-B245446A3E63}"/>
          </ac:picMkLst>
        </pc:picChg>
        <pc:picChg chg="del">
          <ac:chgData name="Leah Selcer" userId="ddebd5d7-5623-455e-9bcd-00ca1c79169d" providerId="ADAL" clId="{870F73E5-8B1F-4EBC-BB3D-AC1D48A0A8F9}" dt="2022-12-14T19:19:19.736" v="1024" actId="478"/>
          <ac:picMkLst>
            <pc:docMk/>
            <pc:sldMk cId="2476424142" sldId="617"/>
            <ac:picMk id="7" creationId="{8B928DC8-963F-62A6-008A-63BACF3453CB}"/>
          </ac:picMkLst>
        </pc:picChg>
        <pc:picChg chg="add mod">
          <ac:chgData name="Leah Selcer" userId="ddebd5d7-5623-455e-9bcd-00ca1c79169d" providerId="ADAL" clId="{870F73E5-8B1F-4EBC-BB3D-AC1D48A0A8F9}" dt="2022-12-14T19:19:49.716" v="1031"/>
          <ac:picMkLst>
            <pc:docMk/>
            <pc:sldMk cId="2476424142" sldId="617"/>
            <ac:picMk id="17" creationId="{B501D86E-68A2-6524-E66E-5DFD8ED63B18}"/>
          </ac:picMkLst>
        </pc:picChg>
        <pc:picChg chg="add mod">
          <ac:chgData name="Leah Selcer" userId="ddebd5d7-5623-455e-9bcd-00ca1c79169d" providerId="ADAL" clId="{870F73E5-8B1F-4EBC-BB3D-AC1D48A0A8F9}" dt="2022-12-14T19:19:55.055" v="1032"/>
          <ac:picMkLst>
            <pc:docMk/>
            <pc:sldMk cId="2476424142" sldId="617"/>
            <ac:picMk id="21" creationId="{782EF883-7FC4-C383-CF84-8FCE5F92A3FD}"/>
          </ac:picMkLst>
        </pc:picChg>
        <pc:cxnChg chg="del mod">
          <ac:chgData name="Leah Selcer" userId="ddebd5d7-5623-455e-9bcd-00ca1c79169d" providerId="ADAL" clId="{870F73E5-8B1F-4EBC-BB3D-AC1D48A0A8F9}" dt="2022-12-14T19:19:21.526" v="1027" actId="478"/>
          <ac:cxnSpMkLst>
            <pc:docMk/>
            <pc:sldMk cId="2476424142" sldId="617"/>
            <ac:cxnSpMk id="6" creationId="{EC69D434-18B0-F176-D232-2D1E9088798C}"/>
          </ac:cxnSpMkLst>
        </pc:cxnChg>
        <pc:cxnChg chg="del">
          <ac:chgData name="Leah Selcer" userId="ddebd5d7-5623-455e-9bcd-00ca1c79169d" providerId="ADAL" clId="{870F73E5-8B1F-4EBC-BB3D-AC1D48A0A8F9}" dt="2022-12-14T19:19:21.045" v="1026" actId="478"/>
          <ac:cxnSpMkLst>
            <pc:docMk/>
            <pc:sldMk cId="2476424142" sldId="617"/>
            <ac:cxnSpMk id="16" creationId="{2E2FC286-86E3-E677-32F5-71AD825612B7}"/>
          </ac:cxnSpMkLst>
        </pc:cxnChg>
        <pc:cxnChg chg="add mod">
          <ac:chgData name="Leah Selcer" userId="ddebd5d7-5623-455e-9bcd-00ca1c79169d" providerId="ADAL" clId="{870F73E5-8B1F-4EBC-BB3D-AC1D48A0A8F9}" dt="2022-12-14T19:19:49.716" v="1031"/>
          <ac:cxnSpMkLst>
            <pc:docMk/>
            <pc:sldMk cId="2476424142" sldId="617"/>
            <ac:cxnSpMk id="19" creationId="{9E7DAE30-B56E-E1E3-F1A4-C7F4984B8F37}"/>
          </ac:cxnSpMkLst>
        </pc:cxnChg>
        <pc:cxnChg chg="add mod">
          <ac:chgData name="Leah Selcer" userId="ddebd5d7-5623-455e-9bcd-00ca1c79169d" providerId="ADAL" clId="{870F73E5-8B1F-4EBC-BB3D-AC1D48A0A8F9}" dt="2022-12-14T19:19:49.716" v="1031"/>
          <ac:cxnSpMkLst>
            <pc:docMk/>
            <pc:sldMk cId="2476424142" sldId="617"/>
            <ac:cxnSpMk id="20" creationId="{C87684F2-C014-4C76-B37F-A02147ECDCE1}"/>
          </ac:cxnSpMkLst>
        </pc:cxnChg>
      </pc:sldChg>
      <pc:sldChg chg="addSp delSp modSp mod">
        <pc:chgData name="Leah Selcer" userId="ddebd5d7-5623-455e-9bcd-00ca1c79169d" providerId="ADAL" clId="{870F73E5-8B1F-4EBC-BB3D-AC1D48A0A8F9}" dt="2022-12-12T16:01:14.733" v="441" actId="1076"/>
        <pc:sldMkLst>
          <pc:docMk/>
          <pc:sldMk cId="1566969012" sldId="618"/>
        </pc:sldMkLst>
        <pc:spChg chg="mod">
          <ac:chgData name="Leah Selcer" userId="ddebd5d7-5623-455e-9bcd-00ca1c79169d" providerId="ADAL" clId="{870F73E5-8B1F-4EBC-BB3D-AC1D48A0A8F9}" dt="2022-12-12T16:00:05.724" v="376" actId="14100"/>
          <ac:spMkLst>
            <pc:docMk/>
            <pc:sldMk cId="1566969012" sldId="618"/>
            <ac:spMk id="3" creationId="{09A1F398-0840-0140-83CE-A611DB97F3EF}"/>
          </ac:spMkLst>
        </pc:spChg>
        <pc:spChg chg="add mod">
          <ac:chgData name="Leah Selcer" userId="ddebd5d7-5623-455e-9bcd-00ca1c79169d" providerId="ADAL" clId="{870F73E5-8B1F-4EBC-BB3D-AC1D48A0A8F9}" dt="2022-12-12T16:00:41.770" v="402" actId="1076"/>
          <ac:spMkLst>
            <pc:docMk/>
            <pc:sldMk cId="1566969012" sldId="618"/>
            <ac:spMk id="8" creationId="{EA8DD508-A562-E257-CAD6-D18F1CB96BE1}"/>
          </ac:spMkLst>
        </pc:spChg>
        <pc:spChg chg="add mod">
          <ac:chgData name="Leah Selcer" userId="ddebd5d7-5623-455e-9bcd-00ca1c79169d" providerId="ADAL" clId="{870F73E5-8B1F-4EBC-BB3D-AC1D48A0A8F9}" dt="2022-12-12T16:01:14.733" v="441" actId="1076"/>
          <ac:spMkLst>
            <pc:docMk/>
            <pc:sldMk cId="1566969012" sldId="618"/>
            <ac:spMk id="9" creationId="{4C3CC119-3573-DD92-040B-0D8F5395178E}"/>
          </ac:spMkLst>
        </pc:spChg>
        <pc:picChg chg="del mod">
          <ac:chgData name="Leah Selcer" userId="ddebd5d7-5623-455e-9bcd-00ca1c79169d" providerId="ADAL" clId="{870F73E5-8B1F-4EBC-BB3D-AC1D48A0A8F9}" dt="2022-12-12T15:59:01.764" v="372" actId="478"/>
          <ac:picMkLst>
            <pc:docMk/>
            <pc:sldMk cId="1566969012" sldId="618"/>
            <ac:picMk id="4" creationId="{8A230212-B689-4E37-B322-D3401BB1513B}"/>
          </ac:picMkLst>
        </pc:picChg>
        <pc:picChg chg="add mod">
          <ac:chgData name="Leah Selcer" userId="ddebd5d7-5623-455e-9bcd-00ca1c79169d" providerId="ADAL" clId="{870F73E5-8B1F-4EBC-BB3D-AC1D48A0A8F9}" dt="2022-12-12T16:00:09.294" v="378" actId="1076"/>
          <ac:picMkLst>
            <pc:docMk/>
            <pc:sldMk cId="1566969012" sldId="618"/>
            <ac:picMk id="6" creationId="{4555FCD0-EF57-0170-D82D-A578862F8448}"/>
          </ac:picMkLst>
        </pc:picChg>
        <pc:picChg chg="mod">
          <ac:chgData name="Leah Selcer" userId="ddebd5d7-5623-455e-9bcd-00ca1c79169d" providerId="ADAL" clId="{870F73E5-8B1F-4EBC-BB3D-AC1D48A0A8F9}" dt="2022-12-12T16:00:07.260" v="377" actId="1076"/>
          <ac:picMkLst>
            <pc:docMk/>
            <pc:sldMk cId="1566969012" sldId="618"/>
            <ac:picMk id="1026" creationId="{E59F318D-221B-208E-2F0A-02E336BA8446}"/>
          </ac:picMkLst>
        </pc:picChg>
      </pc:sldChg>
      <pc:sldChg chg="addSp delSp modSp del mod">
        <pc:chgData name="Leah Selcer" userId="ddebd5d7-5623-455e-9bcd-00ca1c79169d" providerId="ADAL" clId="{870F73E5-8B1F-4EBC-BB3D-AC1D48A0A8F9}" dt="2022-12-13T13:53:51.823" v="480" actId="47"/>
        <pc:sldMkLst>
          <pc:docMk/>
          <pc:sldMk cId="3558309199" sldId="625"/>
        </pc:sldMkLst>
        <pc:spChg chg="mod">
          <ac:chgData name="Leah Selcer" userId="ddebd5d7-5623-455e-9bcd-00ca1c79169d" providerId="ADAL" clId="{870F73E5-8B1F-4EBC-BB3D-AC1D48A0A8F9}" dt="2022-12-12T22:42:53.327" v="445" actId="20577"/>
          <ac:spMkLst>
            <pc:docMk/>
            <pc:sldMk cId="3558309199" sldId="625"/>
            <ac:spMk id="7" creationId="{02BEB3C0-0385-6905-7C22-5DAE4A489947}"/>
          </ac:spMkLst>
        </pc:spChg>
        <pc:picChg chg="del">
          <ac:chgData name="Leah Selcer" userId="ddebd5d7-5623-455e-9bcd-00ca1c79169d" providerId="ADAL" clId="{870F73E5-8B1F-4EBC-BB3D-AC1D48A0A8F9}" dt="2022-12-12T22:42:58.349" v="446" actId="478"/>
          <ac:picMkLst>
            <pc:docMk/>
            <pc:sldMk cId="3558309199" sldId="625"/>
            <ac:picMk id="2" creationId="{B4884BF1-2427-94FF-12B8-7D53871C4B3E}"/>
          </ac:picMkLst>
        </pc:picChg>
        <pc:picChg chg="add del mod modCrop">
          <ac:chgData name="Leah Selcer" userId="ddebd5d7-5623-455e-9bcd-00ca1c79169d" providerId="ADAL" clId="{870F73E5-8B1F-4EBC-BB3D-AC1D48A0A8F9}" dt="2022-12-13T13:53:49.949" v="479" actId="478"/>
          <ac:picMkLst>
            <pc:docMk/>
            <pc:sldMk cId="3558309199" sldId="625"/>
            <ac:picMk id="4" creationId="{88D3AD7E-07E0-AE12-4FAF-DFDF426AEF4A}"/>
          </ac:picMkLst>
        </pc:picChg>
        <pc:picChg chg="add mod">
          <ac:chgData name="Leah Selcer" userId="ddebd5d7-5623-455e-9bcd-00ca1c79169d" providerId="ADAL" clId="{870F73E5-8B1F-4EBC-BB3D-AC1D48A0A8F9}" dt="2022-12-12T22:44:43.904" v="456" actId="108"/>
          <ac:picMkLst>
            <pc:docMk/>
            <pc:sldMk cId="3558309199" sldId="625"/>
            <ac:picMk id="6" creationId="{8099DBC5-3C66-AEF8-C7BB-FEC1429CECB5}"/>
          </ac:picMkLst>
        </pc:picChg>
        <pc:picChg chg="add mod ord">
          <ac:chgData name="Leah Selcer" userId="ddebd5d7-5623-455e-9bcd-00ca1c79169d" providerId="ADAL" clId="{870F73E5-8B1F-4EBC-BB3D-AC1D48A0A8F9}" dt="2022-12-12T22:46:07.088" v="464" actId="1076"/>
          <ac:picMkLst>
            <pc:docMk/>
            <pc:sldMk cId="3558309199" sldId="625"/>
            <ac:picMk id="9" creationId="{194858D2-DB88-8498-8468-1494AE388C5A}"/>
          </ac:picMkLst>
        </pc:picChg>
      </pc:sldChg>
      <pc:sldChg chg="addSp delSp modSp mod">
        <pc:chgData name="Leah Selcer" userId="ddebd5d7-5623-455e-9bcd-00ca1c79169d" providerId="ADAL" clId="{870F73E5-8B1F-4EBC-BB3D-AC1D48A0A8F9}" dt="2022-12-09T14:15:42.438" v="329" actId="1076"/>
        <pc:sldMkLst>
          <pc:docMk/>
          <pc:sldMk cId="3398086154" sldId="627"/>
        </pc:sldMkLst>
        <pc:spChg chg="add del mod">
          <ac:chgData name="Leah Selcer" userId="ddebd5d7-5623-455e-9bcd-00ca1c79169d" providerId="ADAL" clId="{870F73E5-8B1F-4EBC-BB3D-AC1D48A0A8F9}" dt="2022-12-09T14:06:10.909" v="113" actId="478"/>
          <ac:spMkLst>
            <pc:docMk/>
            <pc:sldMk cId="3398086154" sldId="627"/>
            <ac:spMk id="2" creationId="{65DB46CD-0CFC-4A24-6B5F-E571F699B153}"/>
          </ac:spMkLst>
        </pc:spChg>
        <pc:spChg chg="add del mod">
          <ac:chgData name="Leah Selcer" userId="ddebd5d7-5623-455e-9bcd-00ca1c79169d" providerId="ADAL" clId="{870F73E5-8B1F-4EBC-BB3D-AC1D48A0A8F9}" dt="2022-12-09T14:06:09.808" v="112" actId="478"/>
          <ac:spMkLst>
            <pc:docMk/>
            <pc:sldMk cId="3398086154" sldId="627"/>
            <ac:spMk id="8" creationId="{EB63489F-F46C-4FB3-5643-9555AE2ABE17}"/>
          </ac:spMkLst>
        </pc:spChg>
        <pc:spChg chg="add del mod">
          <ac:chgData name="Leah Selcer" userId="ddebd5d7-5623-455e-9bcd-00ca1c79169d" providerId="ADAL" clId="{870F73E5-8B1F-4EBC-BB3D-AC1D48A0A8F9}" dt="2022-12-09T14:06:12.719" v="115" actId="478"/>
          <ac:spMkLst>
            <pc:docMk/>
            <pc:sldMk cId="3398086154" sldId="627"/>
            <ac:spMk id="9" creationId="{82111E80-4BE0-59F7-9123-CFAEDAD176FC}"/>
          </ac:spMkLst>
        </pc:spChg>
        <pc:spChg chg="add del mod">
          <ac:chgData name="Leah Selcer" userId="ddebd5d7-5623-455e-9bcd-00ca1c79169d" providerId="ADAL" clId="{870F73E5-8B1F-4EBC-BB3D-AC1D48A0A8F9}" dt="2022-12-09T14:06:13.862" v="116" actId="478"/>
          <ac:spMkLst>
            <pc:docMk/>
            <pc:sldMk cId="3398086154" sldId="627"/>
            <ac:spMk id="10" creationId="{F8A303EE-80BF-ED41-9D7C-A47ABD53FEEE}"/>
          </ac:spMkLst>
        </pc:spChg>
        <pc:spChg chg="add del mod">
          <ac:chgData name="Leah Selcer" userId="ddebd5d7-5623-455e-9bcd-00ca1c79169d" providerId="ADAL" clId="{870F73E5-8B1F-4EBC-BB3D-AC1D48A0A8F9}" dt="2022-12-09T14:06:15.686" v="118" actId="478"/>
          <ac:spMkLst>
            <pc:docMk/>
            <pc:sldMk cId="3398086154" sldId="627"/>
            <ac:spMk id="11" creationId="{FCDF596E-A3AD-A44C-22D3-BC5EF7B597CB}"/>
          </ac:spMkLst>
        </pc:spChg>
        <pc:spChg chg="add del mod">
          <ac:chgData name="Leah Selcer" userId="ddebd5d7-5623-455e-9bcd-00ca1c79169d" providerId="ADAL" clId="{870F73E5-8B1F-4EBC-BB3D-AC1D48A0A8F9}" dt="2022-12-09T14:09:44.110" v="146" actId="478"/>
          <ac:spMkLst>
            <pc:docMk/>
            <pc:sldMk cId="3398086154" sldId="627"/>
            <ac:spMk id="12" creationId="{E63E4336-6FA6-1D94-65BA-59A5E190AF76}"/>
          </ac:spMkLst>
        </pc:spChg>
        <pc:spChg chg="add del mod">
          <ac:chgData name="Leah Selcer" userId="ddebd5d7-5623-455e-9bcd-00ca1c79169d" providerId="ADAL" clId="{870F73E5-8B1F-4EBC-BB3D-AC1D48A0A8F9}" dt="2022-12-09T14:12:47.217" v="237" actId="478"/>
          <ac:spMkLst>
            <pc:docMk/>
            <pc:sldMk cId="3398086154" sldId="627"/>
            <ac:spMk id="13" creationId="{593D808A-0B8C-FEFF-0F2C-FBEB760BB3E2}"/>
          </ac:spMkLst>
        </pc:spChg>
        <pc:spChg chg="add del mod">
          <ac:chgData name="Leah Selcer" userId="ddebd5d7-5623-455e-9bcd-00ca1c79169d" providerId="ADAL" clId="{870F73E5-8B1F-4EBC-BB3D-AC1D48A0A8F9}" dt="2022-12-09T14:10:58.148" v="177" actId="478"/>
          <ac:spMkLst>
            <pc:docMk/>
            <pc:sldMk cId="3398086154" sldId="627"/>
            <ac:spMk id="14" creationId="{2FC01593-224A-6C23-61F6-784C9C88322C}"/>
          </ac:spMkLst>
        </pc:spChg>
        <pc:spChg chg="add del mod">
          <ac:chgData name="Leah Selcer" userId="ddebd5d7-5623-455e-9bcd-00ca1c79169d" providerId="ADAL" clId="{870F73E5-8B1F-4EBC-BB3D-AC1D48A0A8F9}" dt="2022-12-09T14:12:45.107" v="235" actId="478"/>
          <ac:spMkLst>
            <pc:docMk/>
            <pc:sldMk cId="3398086154" sldId="627"/>
            <ac:spMk id="15" creationId="{D0A8DF46-607E-A2DA-DF44-358E0E8FD957}"/>
          </ac:spMkLst>
        </pc:spChg>
        <pc:spChg chg="add del mod">
          <ac:chgData name="Leah Selcer" userId="ddebd5d7-5623-455e-9bcd-00ca1c79169d" providerId="ADAL" clId="{870F73E5-8B1F-4EBC-BB3D-AC1D48A0A8F9}" dt="2022-12-09T14:12:42.416" v="233" actId="478"/>
          <ac:spMkLst>
            <pc:docMk/>
            <pc:sldMk cId="3398086154" sldId="627"/>
            <ac:spMk id="16" creationId="{768C9B95-48C0-54C6-E7FA-22F96D5AB144}"/>
          </ac:spMkLst>
        </pc:spChg>
        <pc:spChg chg="add del mod">
          <ac:chgData name="Leah Selcer" userId="ddebd5d7-5623-455e-9bcd-00ca1c79169d" providerId="ADAL" clId="{870F73E5-8B1F-4EBC-BB3D-AC1D48A0A8F9}" dt="2022-12-09T14:12:39.586" v="231" actId="478"/>
          <ac:spMkLst>
            <pc:docMk/>
            <pc:sldMk cId="3398086154" sldId="627"/>
            <ac:spMk id="17" creationId="{FB080B2B-F206-1B39-1032-8F63E0EA8592}"/>
          </ac:spMkLst>
        </pc:spChg>
        <pc:spChg chg="add del mod">
          <ac:chgData name="Leah Selcer" userId="ddebd5d7-5623-455e-9bcd-00ca1c79169d" providerId="ADAL" clId="{870F73E5-8B1F-4EBC-BB3D-AC1D48A0A8F9}" dt="2022-12-09T14:12:38.764" v="230" actId="478"/>
          <ac:spMkLst>
            <pc:docMk/>
            <pc:sldMk cId="3398086154" sldId="627"/>
            <ac:spMk id="18" creationId="{C5D13363-0044-AFE6-72B5-C4B252FFEE44}"/>
          </ac:spMkLst>
        </pc:spChg>
        <pc:spChg chg="add mod">
          <ac:chgData name="Leah Selcer" userId="ddebd5d7-5623-455e-9bcd-00ca1c79169d" providerId="ADAL" clId="{870F73E5-8B1F-4EBC-BB3D-AC1D48A0A8F9}" dt="2022-12-09T14:14:22.296" v="259" actId="1076"/>
          <ac:spMkLst>
            <pc:docMk/>
            <pc:sldMk cId="3398086154" sldId="627"/>
            <ac:spMk id="19" creationId="{EF0FEA61-7DC6-2A67-C4A3-DA2458949D21}"/>
          </ac:spMkLst>
        </pc:spChg>
        <pc:spChg chg="add mod">
          <ac:chgData name="Leah Selcer" userId="ddebd5d7-5623-455e-9bcd-00ca1c79169d" providerId="ADAL" clId="{870F73E5-8B1F-4EBC-BB3D-AC1D48A0A8F9}" dt="2022-12-09T14:14:38.413" v="272" actId="1076"/>
          <ac:spMkLst>
            <pc:docMk/>
            <pc:sldMk cId="3398086154" sldId="627"/>
            <ac:spMk id="20" creationId="{299C764C-89EB-9132-9D87-B5480EA072DB}"/>
          </ac:spMkLst>
        </pc:spChg>
        <pc:spChg chg="add mod">
          <ac:chgData name="Leah Selcer" userId="ddebd5d7-5623-455e-9bcd-00ca1c79169d" providerId="ADAL" clId="{870F73E5-8B1F-4EBC-BB3D-AC1D48A0A8F9}" dt="2022-12-09T14:14:50.698" v="286" actId="14100"/>
          <ac:spMkLst>
            <pc:docMk/>
            <pc:sldMk cId="3398086154" sldId="627"/>
            <ac:spMk id="21" creationId="{EAEA46D9-7A4A-FD8B-B92C-2B973EAEE8A8}"/>
          </ac:spMkLst>
        </pc:spChg>
        <pc:spChg chg="add mod">
          <ac:chgData name="Leah Selcer" userId="ddebd5d7-5623-455e-9bcd-00ca1c79169d" providerId="ADAL" clId="{870F73E5-8B1F-4EBC-BB3D-AC1D48A0A8F9}" dt="2022-12-09T14:15:02.931" v="294" actId="1076"/>
          <ac:spMkLst>
            <pc:docMk/>
            <pc:sldMk cId="3398086154" sldId="627"/>
            <ac:spMk id="22" creationId="{B06D3399-D320-6B4E-B3E0-A226D6C18D9A}"/>
          </ac:spMkLst>
        </pc:spChg>
        <pc:spChg chg="add mod">
          <ac:chgData name="Leah Selcer" userId="ddebd5d7-5623-455e-9bcd-00ca1c79169d" providerId="ADAL" clId="{870F73E5-8B1F-4EBC-BB3D-AC1D48A0A8F9}" dt="2022-12-09T14:15:14.429" v="303" actId="1076"/>
          <ac:spMkLst>
            <pc:docMk/>
            <pc:sldMk cId="3398086154" sldId="627"/>
            <ac:spMk id="23" creationId="{4540AF4E-5969-58DE-4705-0652A69B4AA3}"/>
          </ac:spMkLst>
        </pc:spChg>
        <pc:spChg chg="add mod">
          <ac:chgData name="Leah Selcer" userId="ddebd5d7-5623-455e-9bcd-00ca1c79169d" providerId="ADAL" clId="{870F73E5-8B1F-4EBC-BB3D-AC1D48A0A8F9}" dt="2022-12-09T14:15:28.440" v="319" actId="1076"/>
          <ac:spMkLst>
            <pc:docMk/>
            <pc:sldMk cId="3398086154" sldId="627"/>
            <ac:spMk id="24" creationId="{8ACE8248-C329-A38B-1E88-8CD832B21F3B}"/>
          </ac:spMkLst>
        </pc:spChg>
        <pc:spChg chg="add mod">
          <ac:chgData name="Leah Selcer" userId="ddebd5d7-5623-455e-9bcd-00ca1c79169d" providerId="ADAL" clId="{870F73E5-8B1F-4EBC-BB3D-AC1D48A0A8F9}" dt="2022-12-09T14:15:42.438" v="329" actId="1076"/>
          <ac:spMkLst>
            <pc:docMk/>
            <pc:sldMk cId="3398086154" sldId="627"/>
            <ac:spMk id="25" creationId="{C63296C9-0E81-5906-E3BA-4E616A23D0AC}"/>
          </ac:spMkLst>
        </pc:spChg>
        <pc:picChg chg="mod">
          <ac:chgData name="Leah Selcer" userId="ddebd5d7-5623-455e-9bcd-00ca1c79169d" providerId="ADAL" clId="{870F73E5-8B1F-4EBC-BB3D-AC1D48A0A8F9}" dt="2022-12-09T14:05:21.052" v="97" actId="1076"/>
          <ac:picMkLst>
            <pc:docMk/>
            <pc:sldMk cId="3398086154" sldId="627"/>
            <ac:picMk id="3" creationId="{5B106065-F9E5-C2B2-AF06-45C407046A7B}"/>
          </ac:picMkLst>
        </pc:picChg>
      </pc:sldChg>
      <pc:sldChg chg="modSp">
        <pc:chgData name="Leah Selcer" userId="ddebd5d7-5623-455e-9bcd-00ca1c79169d" providerId="ADAL" clId="{870F73E5-8B1F-4EBC-BB3D-AC1D48A0A8F9}" dt="2022-12-12T00:18:23.673" v="339" actId="572"/>
        <pc:sldMkLst>
          <pc:docMk/>
          <pc:sldMk cId="3831277245" sldId="628"/>
        </pc:sldMkLst>
        <pc:graphicFrameChg chg="mod">
          <ac:chgData name="Leah Selcer" userId="ddebd5d7-5623-455e-9bcd-00ca1c79169d" providerId="ADAL" clId="{870F73E5-8B1F-4EBC-BB3D-AC1D48A0A8F9}" dt="2022-12-12T00:18:23.673" v="339" actId="572"/>
          <ac:graphicFrameMkLst>
            <pc:docMk/>
            <pc:sldMk cId="3831277245" sldId="628"/>
            <ac:graphicFrameMk id="6" creationId="{A9D02CF4-0298-4D9C-C520-40C406045707}"/>
          </ac:graphicFrameMkLst>
        </pc:graphicFrameChg>
      </pc:sldChg>
      <pc:sldChg chg="addSp delSp modSp del mod modClrScheme chgLayout">
        <pc:chgData name="Leah Selcer" userId="ddebd5d7-5623-455e-9bcd-00ca1c79169d" providerId="ADAL" clId="{870F73E5-8B1F-4EBC-BB3D-AC1D48A0A8F9}" dt="2022-12-13T14:03:28.717" v="652" actId="47"/>
        <pc:sldMkLst>
          <pc:docMk/>
          <pc:sldMk cId="2595045526" sldId="640"/>
        </pc:sldMkLst>
        <pc:spChg chg="del mod">
          <ac:chgData name="Leah Selcer" userId="ddebd5d7-5623-455e-9bcd-00ca1c79169d" providerId="ADAL" clId="{870F73E5-8B1F-4EBC-BB3D-AC1D48A0A8F9}" dt="2022-12-13T13:58:53.023" v="572" actId="478"/>
          <ac:spMkLst>
            <pc:docMk/>
            <pc:sldMk cId="2595045526" sldId="640"/>
            <ac:spMk id="7" creationId="{02BEB3C0-0385-6905-7C22-5DAE4A489947}"/>
          </ac:spMkLst>
        </pc:spChg>
        <pc:spChg chg="add del mod">
          <ac:chgData name="Leah Selcer" userId="ddebd5d7-5623-455e-9bcd-00ca1c79169d" providerId="ADAL" clId="{870F73E5-8B1F-4EBC-BB3D-AC1D48A0A8F9}" dt="2022-12-13T13:58:55.116" v="573" actId="478"/>
          <ac:spMkLst>
            <pc:docMk/>
            <pc:sldMk cId="2595045526" sldId="640"/>
            <ac:spMk id="11" creationId="{D5975882-5C9F-F118-C821-DAFC77D8EF4B}"/>
          </ac:spMkLst>
        </pc:spChg>
        <pc:spChg chg="add mod ord">
          <ac:chgData name="Leah Selcer" userId="ddebd5d7-5623-455e-9bcd-00ca1c79169d" providerId="ADAL" clId="{870F73E5-8B1F-4EBC-BB3D-AC1D48A0A8F9}" dt="2022-12-13T14:00:41.468" v="591" actId="26606"/>
          <ac:spMkLst>
            <pc:docMk/>
            <pc:sldMk cId="2595045526" sldId="640"/>
            <ac:spMk id="12" creationId="{B58F9977-0CD8-2CB9-82E9-848E2B739FD3}"/>
          </ac:spMkLst>
        </pc:spChg>
        <pc:spChg chg="add mod">
          <ac:chgData name="Leah Selcer" userId="ddebd5d7-5623-455e-9bcd-00ca1c79169d" providerId="ADAL" clId="{870F73E5-8B1F-4EBC-BB3D-AC1D48A0A8F9}" dt="2022-12-13T14:00:41.468" v="591" actId="26606"/>
          <ac:spMkLst>
            <pc:docMk/>
            <pc:sldMk cId="2595045526" sldId="640"/>
            <ac:spMk id="13" creationId="{281C1502-310C-75E2-8A41-09548A7A4BCC}"/>
          </ac:spMkLst>
        </pc:spChg>
        <pc:spChg chg="add del mod">
          <ac:chgData name="Leah Selcer" userId="ddebd5d7-5623-455e-9bcd-00ca1c79169d" providerId="ADAL" clId="{870F73E5-8B1F-4EBC-BB3D-AC1D48A0A8F9}" dt="2022-12-13T14:00:41.468" v="591" actId="26606"/>
          <ac:spMkLst>
            <pc:docMk/>
            <pc:sldMk cId="2595045526" sldId="640"/>
            <ac:spMk id="20" creationId="{196986BB-7C53-3CD6-AF04-9C6387488AB2}"/>
          </ac:spMkLst>
        </pc:spChg>
        <pc:spChg chg="add del mod">
          <ac:chgData name="Leah Selcer" userId="ddebd5d7-5623-455e-9bcd-00ca1c79169d" providerId="ADAL" clId="{870F73E5-8B1F-4EBC-BB3D-AC1D48A0A8F9}" dt="2022-12-13T14:00:41.468" v="591" actId="26606"/>
          <ac:spMkLst>
            <pc:docMk/>
            <pc:sldMk cId="2595045526" sldId="640"/>
            <ac:spMk id="22" creationId="{196317AC-7C68-DD38-7663-062C17511B4E}"/>
          </ac:spMkLst>
        </pc:spChg>
        <pc:spChg chg="add del mod">
          <ac:chgData name="Leah Selcer" userId="ddebd5d7-5623-455e-9bcd-00ca1c79169d" providerId="ADAL" clId="{870F73E5-8B1F-4EBC-BB3D-AC1D48A0A8F9}" dt="2022-12-13T14:00:41.468" v="591" actId="26606"/>
          <ac:spMkLst>
            <pc:docMk/>
            <pc:sldMk cId="2595045526" sldId="640"/>
            <ac:spMk id="24" creationId="{1E2261DB-AC5E-8D59-B331-FAF9037EA4A6}"/>
          </ac:spMkLst>
        </pc:spChg>
        <pc:picChg chg="add del mod">
          <ac:chgData name="Leah Selcer" userId="ddebd5d7-5623-455e-9bcd-00ca1c79169d" providerId="ADAL" clId="{870F73E5-8B1F-4EBC-BB3D-AC1D48A0A8F9}" dt="2022-12-13T13:58:30.800" v="562" actId="478"/>
          <ac:picMkLst>
            <pc:docMk/>
            <pc:sldMk cId="2595045526" sldId="640"/>
            <ac:picMk id="3" creationId="{DC6C6116-E00C-4E31-4399-2E0E42D5166D}"/>
          </ac:picMkLst>
        </pc:picChg>
        <pc:picChg chg="del mod">
          <ac:chgData name="Leah Selcer" userId="ddebd5d7-5623-455e-9bcd-00ca1c79169d" providerId="ADAL" clId="{870F73E5-8B1F-4EBC-BB3D-AC1D48A0A8F9}" dt="2022-12-13T13:58:31.557" v="563" actId="478"/>
          <ac:picMkLst>
            <pc:docMk/>
            <pc:sldMk cId="2595045526" sldId="640"/>
            <ac:picMk id="4" creationId="{88D3AD7E-07E0-AE12-4FAF-DFDF426AEF4A}"/>
          </ac:picMkLst>
        </pc:picChg>
        <pc:picChg chg="del">
          <ac:chgData name="Leah Selcer" userId="ddebd5d7-5623-455e-9bcd-00ca1c79169d" providerId="ADAL" clId="{870F73E5-8B1F-4EBC-BB3D-AC1D48A0A8F9}" dt="2022-12-13T13:55:46.524" v="523" actId="478"/>
          <ac:picMkLst>
            <pc:docMk/>
            <pc:sldMk cId="2595045526" sldId="640"/>
            <ac:picMk id="6" creationId="{8099DBC5-3C66-AEF8-C7BB-FEC1429CECB5}"/>
          </ac:picMkLst>
        </pc:picChg>
        <pc:picChg chg="add mod">
          <ac:chgData name="Leah Selcer" userId="ddebd5d7-5623-455e-9bcd-00ca1c79169d" providerId="ADAL" clId="{870F73E5-8B1F-4EBC-BB3D-AC1D48A0A8F9}" dt="2022-12-13T14:00:58.234" v="596" actId="1076"/>
          <ac:picMkLst>
            <pc:docMk/>
            <pc:sldMk cId="2595045526" sldId="640"/>
            <ac:picMk id="8" creationId="{E7044D86-FF87-4404-80CF-4C667F17F7F6}"/>
          </ac:picMkLst>
        </pc:picChg>
        <pc:picChg chg="del">
          <ac:chgData name="Leah Selcer" userId="ddebd5d7-5623-455e-9bcd-00ca1c79169d" providerId="ADAL" clId="{870F73E5-8B1F-4EBC-BB3D-AC1D48A0A8F9}" dt="2022-12-13T13:55:47.817" v="524" actId="478"/>
          <ac:picMkLst>
            <pc:docMk/>
            <pc:sldMk cId="2595045526" sldId="640"/>
            <ac:picMk id="9" creationId="{194858D2-DB88-8498-8468-1494AE388C5A}"/>
          </ac:picMkLst>
        </pc:picChg>
        <pc:picChg chg="add del mod ord">
          <ac:chgData name="Leah Selcer" userId="ddebd5d7-5623-455e-9bcd-00ca1c79169d" providerId="ADAL" clId="{870F73E5-8B1F-4EBC-BB3D-AC1D48A0A8F9}" dt="2022-12-13T14:00:43.164" v="592" actId="478"/>
          <ac:picMkLst>
            <pc:docMk/>
            <pc:sldMk cId="2595045526" sldId="640"/>
            <ac:picMk id="15" creationId="{E6AC5CCD-D8AF-2534-FABC-5C7B66E0DC97}"/>
          </ac:picMkLst>
        </pc:picChg>
      </pc:sldChg>
      <pc:sldChg chg="delSp modSp add del mod modClrScheme chgLayout">
        <pc:chgData name="Leah Selcer" userId="ddebd5d7-5623-455e-9bcd-00ca1c79169d" providerId="ADAL" clId="{870F73E5-8B1F-4EBC-BB3D-AC1D48A0A8F9}" dt="2022-12-13T13:55:38.082" v="522" actId="47"/>
        <pc:sldMkLst>
          <pc:docMk/>
          <pc:sldMk cId="2781186183" sldId="641"/>
        </pc:sldMkLst>
        <pc:spChg chg="mod ord">
          <ac:chgData name="Leah Selcer" userId="ddebd5d7-5623-455e-9bcd-00ca1c79169d" providerId="ADAL" clId="{870F73E5-8B1F-4EBC-BB3D-AC1D48A0A8F9}" dt="2022-12-13T13:54:58.509" v="515" actId="26606"/>
          <ac:spMkLst>
            <pc:docMk/>
            <pc:sldMk cId="2781186183" sldId="641"/>
            <ac:spMk id="7" creationId="{02BEB3C0-0385-6905-7C22-5DAE4A489947}"/>
          </ac:spMkLst>
        </pc:spChg>
        <pc:picChg chg="del">
          <ac:chgData name="Leah Selcer" userId="ddebd5d7-5623-455e-9bcd-00ca1c79169d" providerId="ADAL" clId="{870F73E5-8B1F-4EBC-BB3D-AC1D48A0A8F9}" dt="2022-12-13T13:54:05.149" v="499" actId="478"/>
          <ac:picMkLst>
            <pc:docMk/>
            <pc:sldMk cId="2781186183" sldId="641"/>
            <ac:picMk id="4" creationId="{88D3AD7E-07E0-AE12-4FAF-DFDF426AEF4A}"/>
          </ac:picMkLst>
        </pc:picChg>
        <pc:picChg chg="mod ord">
          <ac:chgData name="Leah Selcer" userId="ddebd5d7-5623-455e-9bcd-00ca1c79169d" providerId="ADAL" clId="{870F73E5-8B1F-4EBC-BB3D-AC1D48A0A8F9}" dt="2022-12-13T13:55:07.030" v="516" actId="27614"/>
          <ac:picMkLst>
            <pc:docMk/>
            <pc:sldMk cId="2781186183" sldId="641"/>
            <ac:picMk id="6" creationId="{8099DBC5-3C66-AEF8-C7BB-FEC1429CECB5}"/>
          </ac:picMkLst>
        </pc:picChg>
        <pc:picChg chg="mod">
          <ac:chgData name="Leah Selcer" userId="ddebd5d7-5623-455e-9bcd-00ca1c79169d" providerId="ADAL" clId="{870F73E5-8B1F-4EBC-BB3D-AC1D48A0A8F9}" dt="2022-12-13T13:54:58.509" v="515" actId="26606"/>
          <ac:picMkLst>
            <pc:docMk/>
            <pc:sldMk cId="2781186183" sldId="641"/>
            <ac:picMk id="9" creationId="{194858D2-DB88-8498-8468-1494AE388C5A}"/>
          </ac:picMkLst>
        </pc:picChg>
      </pc:sldChg>
      <pc:sldChg chg="addSp delSp modSp add mod">
        <pc:chgData name="Leah Selcer" userId="ddebd5d7-5623-455e-9bcd-00ca1c79169d" providerId="ADAL" clId="{870F73E5-8B1F-4EBC-BB3D-AC1D48A0A8F9}" dt="2022-12-14T16:22:58.499" v="990" actId="108"/>
        <pc:sldMkLst>
          <pc:docMk/>
          <pc:sldMk cId="3051637077" sldId="642"/>
        </pc:sldMkLst>
        <pc:spChg chg="add mod">
          <ac:chgData name="Leah Selcer" userId="ddebd5d7-5623-455e-9bcd-00ca1c79169d" providerId="ADAL" clId="{870F73E5-8B1F-4EBC-BB3D-AC1D48A0A8F9}" dt="2022-12-13T14:03:19.722" v="642" actId="20577"/>
          <ac:spMkLst>
            <pc:docMk/>
            <pc:sldMk cId="3051637077" sldId="642"/>
            <ac:spMk id="5" creationId="{6AA83342-E79F-7D41-CF64-0D2FE43716F2}"/>
          </ac:spMkLst>
        </pc:spChg>
        <pc:spChg chg="mod">
          <ac:chgData name="Leah Selcer" userId="ddebd5d7-5623-455e-9bcd-00ca1c79169d" providerId="ADAL" clId="{870F73E5-8B1F-4EBC-BB3D-AC1D48A0A8F9}" dt="2022-12-13T13:59:18.866" v="581" actId="404"/>
          <ac:spMkLst>
            <pc:docMk/>
            <pc:sldMk cId="3051637077" sldId="642"/>
            <ac:spMk id="7" creationId="{02BEB3C0-0385-6905-7C22-5DAE4A489947}"/>
          </ac:spMkLst>
        </pc:spChg>
        <pc:spChg chg="add mod">
          <ac:chgData name="Leah Selcer" userId="ddebd5d7-5623-455e-9bcd-00ca1c79169d" providerId="ADAL" clId="{870F73E5-8B1F-4EBC-BB3D-AC1D48A0A8F9}" dt="2022-12-13T14:03:25.706" v="651" actId="20577"/>
          <ac:spMkLst>
            <pc:docMk/>
            <pc:sldMk cId="3051637077" sldId="642"/>
            <ac:spMk id="8" creationId="{5CB0BF0A-4334-C415-698C-4659E69E41BA}"/>
          </ac:spMkLst>
        </pc:spChg>
        <pc:picChg chg="add del mod">
          <ac:chgData name="Leah Selcer" userId="ddebd5d7-5623-455e-9bcd-00ca1c79169d" providerId="ADAL" clId="{870F73E5-8B1F-4EBC-BB3D-AC1D48A0A8F9}" dt="2022-12-13T14:01:10.355" v="598" actId="478"/>
          <ac:picMkLst>
            <pc:docMk/>
            <pc:sldMk cId="3051637077" sldId="642"/>
            <ac:picMk id="2" creationId="{35BEDD1C-F521-40F5-94AF-4C7E373DBC91}"/>
          </ac:picMkLst>
        </pc:picChg>
        <pc:picChg chg="add del mod modCrop">
          <ac:chgData name="Leah Selcer" userId="ddebd5d7-5623-455e-9bcd-00ca1c79169d" providerId="ADAL" clId="{870F73E5-8B1F-4EBC-BB3D-AC1D48A0A8F9}" dt="2022-12-14T16:20:53.472" v="959" actId="21"/>
          <ac:picMkLst>
            <pc:docMk/>
            <pc:sldMk cId="3051637077" sldId="642"/>
            <ac:picMk id="3" creationId="{03756E5A-0969-17F5-0146-F73A67218906}"/>
          </ac:picMkLst>
        </pc:picChg>
        <pc:picChg chg="add del mod">
          <ac:chgData name="Leah Selcer" userId="ddebd5d7-5623-455e-9bcd-00ca1c79169d" providerId="ADAL" clId="{870F73E5-8B1F-4EBC-BB3D-AC1D48A0A8F9}" dt="2022-12-13T14:02:20.210" v="613" actId="478"/>
          <ac:picMkLst>
            <pc:docMk/>
            <pc:sldMk cId="3051637077" sldId="642"/>
            <ac:picMk id="3" creationId="{0E714C26-D2BC-39DB-5BF5-3A566CA56D14}"/>
          </ac:picMkLst>
        </pc:picChg>
        <pc:picChg chg="del">
          <ac:chgData name="Leah Selcer" userId="ddebd5d7-5623-455e-9bcd-00ca1c79169d" providerId="ADAL" clId="{870F73E5-8B1F-4EBC-BB3D-AC1D48A0A8F9}" dt="2022-12-13T13:55:25.531" v="518" actId="478"/>
          <ac:picMkLst>
            <pc:docMk/>
            <pc:sldMk cId="3051637077" sldId="642"/>
            <ac:picMk id="4" creationId="{88D3AD7E-07E0-AE12-4FAF-DFDF426AEF4A}"/>
          </ac:picMkLst>
        </pc:picChg>
        <pc:picChg chg="del">
          <ac:chgData name="Leah Selcer" userId="ddebd5d7-5623-455e-9bcd-00ca1c79169d" providerId="ADAL" clId="{870F73E5-8B1F-4EBC-BB3D-AC1D48A0A8F9}" dt="2022-12-13T13:55:25.968" v="519" actId="478"/>
          <ac:picMkLst>
            <pc:docMk/>
            <pc:sldMk cId="3051637077" sldId="642"/>
            <ac:picMk id="6" creationId="{8099DBC5-3C66-AEF8-C7BB-FEC1429CECB5}"/>
          </ac:picMkLst>
        </pc:picChg>
        <pc:picChg chg="add mod ord modCrop">
          <ac:chgData name="Leah Selcer" userId="ddebd5d7-5623-455e-9bcd-00ca1c79169d" providerId="ADAL" clId="{870F73E5-8B1F-4EBC-BB3D-AC1D48A0A8F9}" dt="2022-12-14T16:21:49.506" v="975" actId="108"/>
          <ac:picMkLst>
            <pc:docMk/>
            <pc:sldMk cId="3051637077" sldId="642"/>
            <ac:picMk id="6" creationId="{DC351E91-4DC6-7843-964C-16CB221549EA}"/>
          </ac:picMkLst>
        </pc:picChg>
        <pc:picChg chg="del">
          <ac:chgData name="Leah Selcer" userId="ddebd5d7-5623-455e-9bcd-00ca1c79169d" providerId="ADAL" clId="{870F73E5-8B1F-4EBC-BB3D-AC1D48A0A8F9}" dt="2022-12-13T13:55:26.463" v="520" actId="478"/>
          <ac:picMkLst>
            <pc:docMk/>
            <pc:sldMk cId="3051637077" sldId="642"/>
            <ac:picMk id="9" creationId="{194858D2-DB88-8498-8468-1494AE388C5A}"/>
          </ac:picMkLst>
        </pc:picChg>
        <pc:picChg chg="add del mod ord modCrop">
          <ac:chgData name="Leah Selcer" userId="ddebd5d7-5623-455e-9bcd-00ca1c79169d" providerId="ADAL" clId="{870F73E5-8B1F-4EBC-BB3D-AC1D48A0A8F9}" dt="2022-12-14T16:22:55.185" v="989" actId="478"/>
          <ac:picMkLst>
            <pc:docMk/>
            <pc:sldMk cId="3051637077" sldId="642"/>
            <ac:picMk id="10" creationId="{74E697B2-9340-12F7-437A-E51D7500F376}"/>
          </ac:picMkLst>
        </pc:picChg>
        <pc:picChg chg="add mod ord modCrop">
          <ac:chgData name="Leah Selcer" userId="ddebd5d7-5623-455e-9bcd-00ca1c79169d" providerId="ADAL" clId="{870F73E5-8B1F-4EBC-BB3D-AC1D48A0A8F9}" dt="2022-12-14T16:22:58.499" v="990" actId="108"/>
          <ac:picMkLst>
            <pc:docMk/>
            <pc:sldMk cId="3051637077" sldId="642"/>
            <ac:picMk id="11" creationId="{7994699C-7DCC-F4C8-EE0B-B7DF7E6515BA}"/>
          </ac:picMkLst>
        </pc:picChg>
        <pc:picChg chg="add del mod ord modCrop">
          <ac:chgData name="Leah Selcer" userId="ddebd5d7-5623-455e-9bcd-00ca1c79169d" providerId="ADAL" clId="{870F73E5-8B1F-4EBC-BB3D-AC1D48A0A8F9}" dt="2022-12-14T16:21:45.663" v="974" actId="478"/>
          <ac:picMkLst>
            <pc:docMk/>
            <pc:sldMk cId="3051637077" sldId="642"/>
            <ac:picMk id="12" creationId="{D6787AC7-2D08-BEBD-08D4-16C0ECE31AD8}"/>
          </ac:picMkLst>
        </pc:picChg>
      </pc:sldChg>
      <pc:sldChg chg="addSp delSp modSp add mod">
        <pc:chgData name="Leah Selcer" userId="ddebd5d7-5623-455e-9bcd-00ca1c79169d" providerId="ADAL" clId="{870F73E5-8B1F-4EBC-BB3D-AC1D48A0A8F9}" dt="2022-12-14T16:25:21.963" v="1021" actId="108"/>
        <pc:sldMkLst>
          <pc:docMk/>
          <pc:sldMk cId="3235683205" sldId="643"/>
        </pc:sldMkLst>
        <pc:picChg chg="del">
          <ac:chgData name="Leah Selcer" userId="ddebd5d7-5623-455e-9bcd-00ca1c79169d" providerId="ADAL" clId="{870F73E5-8B1F-4EBC-BB3D-AC1D48A0A8F9}" dt="2022-12-14T16:25:18.986" v="1020" actId="478"/>
          <ac:picMkLst>
            <pc:docMk/>
            <pc:sldMk cId="3235683205" sldId="643"/>
            <ac:picMk id="2" creationId="{35BEDD1C-F521-40F5-94AF-4C7E373DBC91}"/>
          </ac:picMkLst>
        </pc:picChg>
        <pc:picChg chg="del">
          <ac:chgData name="Leah Selcer" userId="ddebd5d7-5623-455e-9bcd-00ca1c79169d" providerId="ADAL" clId="{870F73E5-8B1F-4EBC-BB3D-AC1D48A0A8F9}" dt="2022-12-14T16:24:06.127" v="1005" actId="478"/>
          <ac:picMkLst>
            <pc:docMk/>
            <pc:sldMk cId="3235683205" sldId="643"/>
            <ac:picMk id="3" creationId="{0E714C26-D2BC-39DB-5BF5-3A566CA56D14}"/>
          </ac:picMkLst>
        </pc:picChg>
        <pc:picChg chg="add mod ord modCrop">
          <ac:chgData name="Leah Selcer" userId="ddebd5d7-5623-455e-9bcd-00ca1c79169d" providerId="ADAL" clId="{870F73E5-8B1F-4EBC-BB3D-AC1D48A0A8F9}" dt="2022-12-14T16:24:08.880" v="1006" actId="108"/>
          <ac:picMkLst>
            <pc:docMk/>
            <pc:sldMk cId="3235683205" sldId="643"/>
            <ac:picMk id="6" creationId="{ABD39786-E9DE-924F-6D72-A312AFADB3BD}"/>
          </ac:picMkLst>
        </pc:picChg>
        <pc:picChg chg="add mod ord modCrop">
          <ac:chgData name="Leah Selcer" userId="ddebd5d7-5623-455e-9bcd-00ca1c79169d" providerId="ADAL" clId="{870F73E5-8B1F-4EBC-BB3D-AC1D48A0A8F9}" dt="2022-12-14T16:25:21.963" v="1021" actId="108"/>
          <ac:picMkLst>
            <pc:docMk/>
            <pc:sldMk cId="3235683205" sldId="643"/>
            <ac:picMk id="10" creationId="{E6F4EE9E-68C2-632A-5345-5012ECE85CBB}"/>
          </ac:picMkLst>
        </pc:picChg>
      </pc:sldChg>
      <pc:sldChg chg="modSp add mod ord">
        <pc:chgData name="Leah Selcer" userId="ddebd5d7-5623-455e-9bcd-00ca1c79169d" providerId="ADAL" clId="{870F73E5-8B1F-4EBC-BB3D-AC1D48A0A8F9}" dt="2022-12-15T13:52:36.039" v="1184"/>
        <pc:sldMkLst>
          <pc:docMk/>
          <pc:sldMk cId="3521662192" sldId="644"/>
        </pc:sldMkLst>
        <pc:spChg chg="mod">
          <ac:chgData name="Leah Selcer" userId="ddebd5d7-5623-455e-9bcd-00ca1c79169d" providerId="ADAL" clId="{870F73E5-8B1F-4EBC-BB3D-AC1D48A0A8F9}" dt="2022-12-13T20:29:52.257" v="678" actId="20577"/>
          <ac:spMkLst>
            <pc:docMk/>
            <pc:sldMk cId="3521662192" sldId="644"/>
            <ac:spMk id="2" creationId="{644BA338-42BA-C741-9611-FAB4DF648AE4}"/>
          </ac:spMkLst>
        </pc:spChg>
      </pc:sldChg>
      <pc:sldChg chg="addSp delSp modSp add mod ord">
        <pc:chgData name="Leah Selcer" userId="ddebd5d7-5623-455e-9bcd-00ca1c79169d" providerId="ADAL" clId="{870F73E5-8B1F-4EBC-BB3D-AC1D48A0A8F9}" dt="2022-12-15T13:52:36.039" v="1184"/>
        <pc:sldMkLst>
          <pc:docMk/>
          <pc:sldMk cId="4254049134" sldId="645"/>
        </pc:sldMkLst>
        <pc:spChg chg="del mod">
          <ac:chgData name="Leah Selcer" userId="ddebd5d7-5623-455e-9bcd-00ca1c79169d" providerId="ADAL" clId="{870F73E5-8B1F-4EBC-BB3D-AC1D48A0A8F9}" dt="2022-12-13T20:33:10.156" v="787" actId="478"/>
          <ac:spMkLst>
            <pc:docMk/>
            <pc:sldMk cId="4254049134" sldId="645"/>
            <ac:spMk id="2" creationId="{52F47212-9326-A14E-9346-DDC2C478C31A}"/>
          </ac:spMkLst>
        </pc:spChg>
        <pc:spChg chg="del mod">
          <ac:chgData name="Leah Selcer" userId="ddebd5d7-5623-455e-9bcd-00ca1c79169d" providerId="ADAL" clId="{870F73E5-8B1F-4EBC-BB3D-AC1D48A0A8F9}" dt="2022-12-13T20:30:15.554" v="717" actId="478"/>
          <ac:spMkLst>
            <pc:docMk/>
            <pc:sldMk cId="4254049134" sldId="645"/>
            <ac:spMk id="4" creationId="{6D1D1EED-A1E1-E820-1102-52C10077B29E}"/>
          </ac:spMkLst>
        </pc:spChg>
        <pc:spChg chg="add del mod">
          <ac:chgData name="Leah Selcer" userId="ddebd5d7-5623-455e-9bcd-00ca1c79169d" providerId="ADAL" clId="{870F73E5-8B1F-4EBC-BB3D-AC1D48A0A8F9}" dt="2022-12-13T20:30:24.060" v="720" actId="478"/>
          <ac:spMkLst>
            <pc:docMk/>
            <pc:sldMk cId="4254049134" sldId="645"/>
            <ac:spMk id="6" creationId="{0584E710-2FF3-F765-9DC6-83F33FD16963}"/>
          </ac:spMkLst>
        </pc:spChg>
        <pc:spChg chg="del">
          <ac:chgData name="Leah Selcer" userId="ddebd5d7-5623-455e-9bcd-00ca1c79169d" providerId="ADAL" clId="{870F73E5-8B1F-4EBC-BB3D-AC1D48A0A8F9}" dt="2022-12-13T20:30:17.354" v="718" actId="478"/>
          <ac:spMkLst>
            <pc:docMk/>
            <pc:sldMk cId="4254049134" sldId="645"/>
            <ac:spMk id="7" creationId="{14049432-A5B5-4D51-869A-D1C05FB2DB5E}"/>
          </ac:spMkLst>
        </pc:spChg>
        <pc:spChg chg="add del mod">
          <ac:chgData name="Leah Selcer" userId="ddebd5d7-5623-455e-9bcd-00ca1c79169d" providerId="ADAL" clId="{870F73E5-8B1F-4EBC-BB3D-AC1D48A0A8F9}" dt="2022-12-13T20:31:25.765" v="760" actId="478"/>
          <ac:spMkLst>
            <pc:docMk/>
            <pc:sldMk cId="4254049134" sldId="645"/>
            <ac:spMk id="8" creationId="{3ED7C35D-57DB-A809-ECB6-683B6C6CA66F}"/>
          </ac:spMkLst>
        </pc:spChg>
        <pc:spChg chg="add del mod">
          <ac:chgData name="Leah Selcer" userId="ddebd5d7-5623-455e-9bcd-00ca1c79169d" providerId="ADAL" clId="{870F73E5-8B1F-4EBC-BB3D-AC1D48A0A8F9}" dt="2022-12-13T20:33:17.901" v="790" actId="21"/>
          <ac:spMkLst>
            <pc:docMk/>
            <pc:sldMk cId="4254049134" sldId="645"/>
            <ac:spMk id="15" creationId="{BCA2287C-1E98-A2C9-B8B8-1FC29F76C9B8}"/>
          </ac:spMkLst>
        </pc:spChg>
        <pc:picChg chg="del">
          <ac:chgData name="Leah Selcer" userId="ddebd5d7-5623-455e-9bcd-00ca1c79169d" providerId="ADAL" clId="{870F73E5-8B1F-4EBC-BB3D-AC1D48A0A8F9}" dt="2022-12-13T20:30:12.921" v="715" actId="478"/>
          <ac:picMkLst>
            <pc:docMk/>
            <pc:sldMk cId="4254049134" sldId="645"/>
            <ac:picMk id="3" creationId="{BEE3C15D-3961-3ED4-EC63-0FE372C5C505}"/>
          </ac:picMkLst>
        </pc:picChg>
        <pc:picChg chg="add del mod">
          <ac:chgData name="Leah Selcer" userId="ddebd5d7-5623-455e-9bcd-00ca1c79169d" providerId="ADAL" clId="{870F73E5-8B1F-4EBC-BB3D-AC1D48A0A8F9}" dt="2022-12-13T20:31:23.688" v="759" actId="478"/>
          <ac:picMkLst>
            <pc:docMk/>
            <pc:sldMk cId="4254049134" sldId="645"/>
            <ac:picMk id="9" creationId="{90378CC5-86FC-0D7D-E34C-331FE34CE82F}"/>
          </ac:picMkLst>
        </pc:picChg>
        <pc:picChg chg="add del mod">
          <ac:chgData name="Leah Selcer" userId="ddebd5d7-5623-455e-9bcd-00ca1c79169d" providerId="ADAL" clId="{870F73E5-8B1F-4EBC-BB3D-AC1D48A0A8F9}" dt="2022-12-13T20:31:23.226" v="758" actId="478"/>
          <ac:picMkLst>
            <pc:docMk/>
            <pc:sldMk cId="4254049134" sldId="645"/>
            <ac:picMk id="10" creationId="{D41E6FE5-CC65-2123-BED4-017B79F0176E}"/>
          </ac:picMkLst>
        </pc:picChg>
        <pc:picChg chg="add del mod">
          <ac:chgData name="Leah Selcer" userId="ddebd5d7-5623-455e-9bcd-00ca1c79169d" providerId="ADAL" clId="{870F73E5-8B1F-4EBC-BB3D-AC1D48A0A8F9}" dt="2022-12-13T20:30:37.339" v="723"/>
          <ac:picMkLst>
            <pc:docMk/>
            <pc:sldMk cId="4254049134" sldId="645"/>
            <ac:picMk id="11" creationId="{D6A9FB51-4FED-1311-9705-EBE6D69F03AA}"/>
          </ac:picMkLst>
        </pc:picChg>
        <pc:picChg chg="add del mod">
          <ac:chgData name="Leah Selcer" userId="ddebd5d7-5623-455e-9bcd-00ca1c79169d" providerId="ADAL" clId="{870F73E5-8B1F-4EBC-BB3D-AC1D48A0A8F9}" dt="2022-12-13T20:30:37.339" v="723"/>
          <ac:picMkLst>
            <pc:docMk/>
            <pc:sldMk cId="4254049134" sldId="645"/>
            <ac:picMk id="12" creationId="{DCD71ADA-FF1A-84D2-9AD0-F8F90C47E797}"/>
          </ac:picMkLst>
        </pc:picChg>
        <pc:picChg chg="add del mod ord modCrop">
          <ac:chgData name="Leah Selcer" userId="ddebd5d7-5623-455e-9bcd-00ca1c79169d" providerId="ADAL" clId="{870F73E5-8B1F-4EBC-BB3D-AC1D48A0A8F9}" dt="2022-12-13T20:33:22.835" v="792" actId="14100"/>
          <ac:picMkLst>
            <pc:docMk/>
            <pc:sldMk cId="4254049134" sldId="645"/>
            <ac:picMk id="13" creationId="{0B3EF2CF-6847-CF8E-C6B0-4F8A80F0DF71}"/>
          </ac:picMkLst>
        </pc:picChg>
      </pc:sldChg>
      <pc:sldChg chg="addSp delSp modSp add mod ord">
        <pc:chgData name="Leah Selcer" userId="ddebd5d7-5623-455e-9bcd-00ca1c79169d" providerId="ADAL" clId="{870F73E5-8B1F-4EBC-BB3D-AC1D48A0A8F9}" dt="2022-12-15T13:52:36.039" v="1184"/>
        <pc:sldMkLst>
          <pc:docMk/>
          <pc:sldMk cId="3326314789" sldId="646"/>
        </pc:sldMkLst>
        <pc:spChg chg="add mod">
          <ac:chgData name="Leah Selcer" userId="ddebd5d7-5623-455e-9bcd-00ca1c79169d" providerId="ADAL" clId="{870F73E5-8B1F-4EBC-BB3D-AC1D48A0A8F9}" dt="2022-12-13T20:30:50.757" v="728"/>
          <ac:spMkLst>
            <pc:docMk/>
            <pc:sldMk cId="3326314789" sldId="646"/>
            <ac:spMk id="3" creationId="{DD61F8D9-2658-C103-F0A5-612FBEB34FD2}"/>
          </ac:spMkLst>
        </pc:spChg>
        <pc:spChg chg="del">
          <ac:chgData name="Leah Selcer" userId="ddebd5d7-5623-455e-9bcd-00ca1c79169d" providerId="ADAL" clId="{870F73E5-8B1F-4EBC-BB3D-AC1D48A0A8F9}" dt="2022-12-13T20:30:46.425" v="727" actId="478"/>
          <ac:spMkLst>
            <pc:docMk/>
            <pc:sldMk cId="3326314789" sldId="646"/>
            <ac:spMk id="8" creationId="{3ED7C35D-57DB-A809-ECB6-683B6C6CA66F}"/>
          </ac:spMkLst>
        </pc:spChg>
        <pc:picChg chg="add mod">
          <ac:chgData name="Leah Selcer" userId="ddebd5d7-5623-455e-9bcd-00ca1c79169d" providerId="ADAL" clId="{870F73E5-8B1F-4EBC-BB3D-AC1D48A0A8F9}" dt="2022-12-13T20:30:54.253" v="729"/>
          <ac:picMkLst>
            <pc:docMk/>
            <pc:sldMk cId="3326314789" sldId="646"/>
            <ac:picMk id="4" creationId="{6EA33ED2-A07D-17CC-DA49-069050717849}"/>
          </ac:picMkLst>
        </pc:picChg>
        <pc:picChg chg="add mod">
          <ac:chgData name="Leah Selcer" userId="ddebd5d7-5623-455e-9bcd-00ca1c79169d" providerId="ADAL" clId="{870F73E5-8B1F-4EBC-BB3D-AC1D48A0A8F9}" dt="2022-12-13T20:30:54.253" v="729"/>
          <ac:picMkLst>
            <pc:docMk/>
            <pc:sldMk cId="3326314789" sldId="646"/>
            <ac:picMk id="5" creationId="{7EDF0E3B-DBBF-D4DF-7D87-92508378E683}"/>
          </ac:picMkLst>
        </pc:picChg>
        <pc:picChg chg="del">
          <ac:chgData name="Leah Selcer" userId="ddebd5d7-5623-455e-9bcd-00ca1c79169d" providerId="ADAL" clId="{870F73E5-8B1F-4EBC-BB3D-AC1D48A0A8F9}" dt="2022-12-13T20:30:45.217" v="726" actId="478"/>
          <ac:picMkLst>
            <pc:docMk/>
            <pc:sldMk cId="3326314789" sldId="646"/>
            <ac:picMk id="9" creationId="{90378CC5-86FC-0D7D-E34C-331FE34CE82F}"/>
          </ac:picMkLst>
        </pc:picChg>
        <pc:picChg chg="del">
          <ac:chgData name="Leah Selcer" userId="ddebd5d7-5623-455e-9bcd-00ca1c79169d" providerId="ADAL" clId="{870F73E5-8B1F-4EBC-BB3D-AC1D48A0A8F9}" dt="2022-12-13T20:30:44.577" v="725" actId="478"/>
          <ac:picMkLst>
            <pc:docMk/>
            <pc:sldMk cId="3326314789" sldId="646"/>
            <ac:picMk id="10" creationId="{D41E6FE5-CC65-2123-BED4-017B79F0176E}"/>
          </ac:picMkLst>
        </pc:picChg>
      </pc:sldChg>
      <pc:sldChg chg="addSp delSp modSp add mod ord">
        <pc:chgData name="Leah Selcer" userId="ddebd5d7-5623-455e-9bcd-00ca1c79169d" providerId="ADAL" clId="{870F73E5-8B1F-4EBC-BB3D-AC1D48A0A8F9}" dt="2022-12-15T13:53:24.989" v="1210" actId="1076"/>
        <pc:sldMkLst>
          <pc:docMk/>
          <pc:sldMk cId="3042607833" sldId="647"/>
        </pc:sldMkLst>
        <pc:spChg chg="mod">
          <ac:chgData name="Leah Selcer" userId="ddebd5d7-5623-455e-9bcd-00ca1c79169d" providerId="ADAL" clId="{870F73E5-8B1F-4EBC-BB3D-AC1D48A0A8F9}" dt="2022-12-15T13:53:04.375" v="1205" actId="20577"/>
          <ac:spMkLst>
            <pc:docMk/>
            <pc:sldMk cId="3042607833" sldId="647"/>
            <ac:spMk id="2" creationId="{52F47212-9326-A14E-9346-DDC2C478C31A}"/>
          </ac:spMkLst>
        </pc:spChg>
        <pc:spChg chg="add mod">
          <ac:chgData name="Leah Selcer" userId="ddebd5d7-5623-455e-9bcd-00ca1c79169d" providerId="ADAL" clId="{870F73E5-8B1F-4EBC-BB3D-AC1D48A0A8F9}" dt="2022-12-15T13:53:24.989" v="1210" actId="1076"/>
          <ac:spMkLst>
            <pc:docMk/>
            <pc:sldMk cId="3042607833" sldId="647"/>
            <ac:spMk id="4" creationId="{80606FDC-C020-33A6-9B22-3248A4DD7ECC}"/>
          </ac:spMkLst>
        </pc:spChg>
        <pc:spChg chg="del">
          <ac:chgData name="Leah Selcer" userId="ddebd5d7-5623-455e-9bcd-00ca1c79169d" providerId="ADAL" clId="{870F73E5-8B1F-4EBC-BB3D-AC1D48A0A8F9}" dt="2022-12-15T13:53:08.685" v="1208" actId="478"/>
          <ac:spMkLst>
            <pc:docMk/>
            <pc:sldMk cId="3042607833" sldId="647"/>
            <ac:spMk id="8" creationId="{3ED7C35D-57DB-A809-ECB6-683B6C6CA66F}"/>
          </ac:spMkLst>
        </pc:spChg>
        <pc:graphicFrameChg chg="add mod">
          <ac:chgData name="Leah Selcer" userId="ddebd5d7-5623-455e-9bcd-00ca1c79169d" providerId="ADAL" clId="{870F73E5-8B1F-4EBC-BB3D-AC1D48A0A8F9}" dt="2022-12-15T13:53:24.989" v="1210" actId="1076"/>
          <ac:graphicFrameMkLst>
            <pc:docMk/>
            <pc:sldMk cId="3042607833" sldId="647"/>
            <ac:graphicFrameMk id="3" creationId="{996A2356-3A1B-DBCF-F747-38A8E2627C2B}"/>
          </ac:graphicFrameMkLst>
        </pc:graphicFrameChg>
        <pc:picChg chg="del">
          <ac:chgData name="Leah Selcer" userId="ddebd5d7-5623-455e-9bcd-00ca1c79169d" providerId="ADAL" clId="{870F73E5-8B1F-4EBC-BB3D-AC1D48A0A8F9}" dt="2022-12-15T13:53:07.107" v="1207" actId="478"/>
          <ac:picMkLst>
            <pc:docMk/>
            <pc:sldMk cId="3042607833" sldId="647"/>
            <ac:picMk id="9" creationId="{90378CC5-86FC-0D7D-E34C-331FE34CE82F}"/>
          </ac:picMkLst>
        </pc:picChg>
        <pc:picChg chg="del">
          <ac:chgData name="Leah Selcer" userId="ddebd5d7-5623-455e-9bcd-00ca1c79169d" providerId="ADAL" clId="{870F73E5-8B1F-4EBC-BB3D-AC1D48A0A8F9}" dt="2022-12-15T13:53:06.700" v="1206" actId="478"/>
          <ac:picMkLst>
            <pc:docMk/>
            <pc:sldMk cId="3042607833" sldId="647"/>
            <ac:picMk id="10" creationId="{D41E6FE5-CC65-2123-BED4-017B79F0176E}"/>
          </ac:picMkLst>
        </pc:picChg>
      </pc:sldChg>
      <pc:sldChg chg="addSp delSp modSp add del mod">
        <pc:chgData name="Leah Selcer" userId="ddebd5d7-5623-455e-9bcd-00ca1c79169d" providerId="ADAL" clId="{870F73E5-8B1F-4EBC-BB3D-AC1D48A0A8F9}" dt="2022-12-13T23:11:35.563" v="837" actId="47"/>
        <pc:sldMkLst>
          <pc:docMk/>
          <pc:sldMk cId="1328001140" sldId="648"/>
        </pc:sldMkLst>
        <pc:spChg chg="mod">
          <ac:chgData name="Leah Selcer" userId="ddebd5d7-5623-455e-9bcd-00ca1c79169d" providerId="ADAL" clId="{870F73E5-8B1F-4EBC-BB3D-AC1D48A0A8F9}" dt="2022-12-13T23:11:31.224" v="836" actId="21"/>
          <ac:spMkLst>
            <pc:docMk/>
            <pc:sldMk cId="1328001140" sldId="648"/>
            <ac:spMk id="2" creationId="{F7347354-9C9F-8428-057D-631E0AA4EB16}"/>
          </ac:spMkLst>
        </pc:spChg>
        <pc:spChg chg="del">
          <ac:chgData name="Leah Selcer" userId="ddebd5d7-5623-455e-9bcd-00ca1c79169d" providerId="ADAL" clId="{870F73E5-8B1F-4EBC-BB3D-AC1D48A0A8F9}" dt="2022-12-13T23:08:03.688" v="796" actId="478"/>
          <ac:spMkLst>
            <pc:docMk/>
            <pc:sldMk cId="1328001140" sldId="648"/>
            <ac:spMk id="6" creationId="{32EBC814-855D-433A-0C64-85F8E701C853}"/>
          </ac:spMkLst>
        </pc:spChg>
        <pc:spChg chg="mod">
          <ac:chgData name="Leah Selcer" userId="ddebd5d7-5623-455e-9bcd-00ca1c79169d" providerId="ADAL" clId="{870F73E5-8B1F-4EBC-BB3D-AC1D48A0A8F9}" dt="2022-12-13T23:11:30.867" v="835"/>
          <ac:spMkLst>
            <pc:docMk/>
            <pc:sldMk cId="1328001140" sldId="648"/>
            <ac:spMk id="10" creationId="{AFA7DCE7-A058-5172-FABD-182E2FDB5DE0}"/>
          </ac:spMkLst>
        </pc:spChg>
        <pc:graphicFrameChg chg="add del mod modGraphic">
          <ac:chgData name="Leah Selcer" userId="ddebd5d7-5623-455e-9bcd-00ca1c79169d" providerId="ADAL" clId="{870F73E5-8B1F-4EBC-BB3D-AC1D48A0A8F9}" dt="2022-12-13T23:11:28.961" v="830" actId="1032"/>
          <ac:graphicFrameMkLst>
            <pc:docMk/>
            <pc:sldMk cId="1328001140" sldId="648"/>
            <ac:graphicFrameMk id="5" creationId="{2305948C-39AF-BE7F-4607-C2C24E915681}"/>
          </ac:graphicFrameMkLst>
        </pc:graphicFrameChg>
        <pc:picChg chg="del mod">
          <ac:chgData name="Leah Selcer" userId="ddebd5d7-5623-455e-9bcd-00ca1c79169d" providerId="ADAL" clId="{870F73E5-8B1F-4EBC-BB3D-AC1D48A0A8F9}" dt="2022-12-13T23:08:00.535" v="795" actId="478"/>
          <ac:picMkLst>
            <pc:docMk/>
            <pc:sldMk cId="1328001140" sldId="648"/>
            <ac:picMk id="3" creationId="{D009AF5C-267D-1025-C08D-5671D33B0854}"/>
          </ac:picMkLst>
        </pc:picChg>
      </pc:sldChg>
      <pc:sldChg chg="addSp delSp modSp add mod modCm">
        <pc:chgData name="Leah Selcer" userId="ddebd5d7-5623-455e-9bcd-00ca1c79169d" providerId="ADAL" clId="{870F73E5-8B1F-4EBC-BB3D-AC1D48A0A8F9}" dt="2022-12-14T00:04:51.375" v="878"/>
        <pc:sldMkLst>
          <pc:docMk/>
          <pc:sldMk cId="1533576855" sldId="648"/>
        </pc:sldMkLst>
        <pc:spChg chg="mod">
          <ac:chgData name="Leah Selcer" userId="ddebd5d7-5623-455e-9bcd-00ca1c79169d" providerId="ADAL" clId="{870F73E5-8B1F-4EBC-BB3D-AC1D48A0A8F9}" dt="2022-12-13T23:18:49.813" v="854"/>
          <ac:spMkLst>
            <pc:docMk/>
            <pc:sldMk cId="1533576855" sldId="648"/>
            <ac:spMk id="2" creationId="{F7347354-9C9F-8428-057D-631E0AA4EB16}"/>
          </ac:spMkLst>
        </pc:spChg>
        <pc:spChg chg="mod">
          <ac:chgData name="Leah Selcer" userId="ddebd5d7-5623-455e-9bcd-00ca1c79169d" providerId="ADAL" clId="{870F73E5-8B1F-4EBC-BB3D-AC1D48A0A8F9}" dt="2022-12-13T23:51:19.013" v="872" actId="1076"/>
          <ac:spMkLst>
            <pc:docMk/>
            <pc:sldMk cId="1533576855" sldId="648"/>
            <ac:spMk id="6" creationId="{32EBC814-855D-433A-0C64-85F8E701C853}"/>
          </ac:spMkLst>
        </pc:spChg>
        <pc:spChg chg="mod">
          <ac:chgData name="Leah Selcer" userId="ddebd5d7-5623-455e-9bcd-00ca1c79169d" providerId="ADAL" clId="{870F73E5-8B1F-4EBC-BB3D-AC1D48A0A8F9}" dt="2022-12-13T23:12:35.504" v="843"/>
          <ac:spMkLst>
            <pc:docMk/>
            <pc:sldMk cId="1533576855" sldId="648"/>
            <ac:spMk id="10" creationId="{AFA7DCE7-A058-5172-FABD-182E2FDB5DE0}"/>
          </ac:spMkLst>
        </pc:spChg>
        <pc:picChg chg="del mod">
          <ac:chgData name="Leah Selcer" userId="ddebd5d7-5623-455e-9bcd-00ca1c79169d" providerId="ADAL" clId="{870F73E5-8B1F-4EBC-BB3D-AC1D48A0A8F9}" dt="2022-12-14T00:04:06.802" v="873" actId="478"/>
          <ac:picMkLst>
            <pc:docMk/>
            <pc:sldMk cId="1533576855" sldId="648"/>
            <ac:picMk id="5" creationId="{C570F1FB-7696-7EB2-2A65-34AF129CBAF2}"/>
          </ac:picMkLst>
        </pc:picChg>
        <pc:picChg chg="add mod">
          <ac:chgData name="Leah Selcer" userId="ddebd5d7-5623-455e-9bcd-00ca1c79169d" providerId="ADAL" clId="{870F73E5-8B1F-4EBC-BB3D-AC1D48A0A8F9}" dt="2022-12-14T00:04:29.993" v="877" actId="108"/>
          <ac:picMkLst>
            <pc:docMk/>
            <pc:sldMk cId="1533576855" sldId="648"/>
            <ac:picMk id="8" creationId="{B6B75CA0-CA70-7695-AA4F-AF7D4998A3A1}"/>
          </ac:picMkLst>
        </pc:picChg>
      </pc:sldChg>
      <pc:sldChg chg="modSp add del mod">
        <pc:chgData name="Leah Selcer" userId="ddebd5d7-5623-455e-9bcd-00ca1c79169d" providerId="ADAL" clId="{870F73E5-8B1F-4EBC-BB3D-AC1D48A0A8F9}" dt="2022-12-13T23:12:18.412" v="838" actId="47"/>
        <pc:sldMkLst>
          <pc:docMk/>
          <pc:sldMk cId="697191367" sldId="649"/>
        </pc:sldMkLst>
        <pc:spChg chg="mod">
          <ac:chgData name="Leah Selcer" userId="ddebd5d7-5623-455e-9bcd-00ca1c79169d" providerId="ADAL" clId="{870F73E5-8B1F-4EBC-BB3D-AC1D48A0A8F9}" dt="2022-12-13T23:08:18.365" v="798" actId="6549"/>
          <ac:spMkLst>
            <pc:docMk/>
            <pc:sldMk cId="697191367" sldId="649"/>
            <ac:spMk id="2" creationId="{F7347354-9C9F-8428-057D-631E0AA4EB16}"/>
          </ac:spMkLst>
        </pc:spChg>
      </pc:sldChg>
      <pc:sldChg chg="addSp modSp mod">
        <pc:chgData name="Leah Selcer" userId="ddebd5d7-5623-455e-9bcd-00ca1c79169d" providerId="ADAL" clId="{870F73E5-8B1F-4EBC-BB3D-AC1D48A0A8F9}" dt="2022-12-15T13:52:08.812" v="1182" actId="1076"/>
        <pc:sldMkLst>
          <pc:docMk/>
          <pc:sldMk cId="1614086355" sldId="650"/>
        </pc:sldMkLst>
        <pc:spChg chg="mod">
          <ac:chgData name="Leah Selcer" userId="ddebd5d7-5623-455e-9bcd-00ca1c79169d" providerId="ADAL" clId="{870F73E5-8B1F-4EBC-BB3D-AC1D48A0A8F9}" dt="2022-12-15T13:52:02.366" v="1180" actId="14100"/>
          <ac:spMkLst>
            <pc:docMk/>
            <pc:sldMk cId="1614086355" sldId="650"/>
            <ac:spMk id="2" creationId="{F7347354-9C9F-8428-057D-631E0AA4EB16}"/>
          </ac:spMkLst>
        </pc:spChg>
        <pc:picChg chg="add mod ord">
          <ac:chgData name="Leah Selcer" userId="ddebd5d7-5623-455e-9bcd-00ca1c79169d" providerId="ADAL" clId="{870F73E5-8B1F-4EBC-BB3D-AC1D48A0A8F9}" dt="2022-12-15T13:52:08.812" v="1182" actId="1076"/>
          <ac:picMkLst>
            <pc:docMk/>
            <pc:sldMk cId="1614086355" sldId="650"/>
            <ac:picMk id="5" creationId="{6AF992F4-8F53-A668-9FEA-45D2DCF17BC3}"/>
          </ac:picMkLst>
        </pc:picChg>
      </pc:sldChg>
      <pc:sldChg chg="add">
        <pc:chgData name="Leah Selcer" userId="ddebd5d7-5623-455e-9bcd-00ca1c79169d" providerId="ADAL" clId="{870F73E5-8B1F-4EBC-BB3D-AC1D48A0A8F9}" dt="2022-12-15T13:52:55.423" v="1185"/>
        <pc:sldMkLst>
          <pc:docMk/>
          <pc:sldMk cId="2380327691" sldId="651"/>
        </pc:sldMkLst>
      </pc:sldChg>
    </pc:docChg>
  </pc:docChgLst>
  <pc:docChgLst>
    <pc:chgData name="Leah Selcer" userId="S::leah.selcer@neel-schaffer.com::ddebd5d7-5623-455e-9bcd-00ca1c79169d" providerId="AD" clId="Web-{FD4A1B3B-724B-5987-070F-38D404182A14}"/>
    <pc:docChg chg="">
      <pc:chgData name="Leah Selcer" userId="S::leah.selcer@neel-schaffer.com::ddebd5d7-5623-455e-9bcd-00ca1c79169d" providerId="AD" clId="Web-{FD4A1B3B-724B-5987-070F-38D404182A14}" dt="2022-12-12T15:10:39.101" v="0"/>
      <pc:docMkLst>
        <pc:docMk/>
      </pc:docMkLst>
      <pc:sldChg chg="addCm">
        <pc:chgData name="Leah Selcer" userId="S::leah.selcer@neel-schaffer.com::ddebd5d7-5623-455e-9bcd-00ca1c79169d" providerId="AD" clId="Web-{FD4A1B3B-724B-5987-070F-38D404182A14}" dt="2022-12-12T15:10:39.101" v="0"/>
        <pc:sldMkLst>
          <pc:docMk/>
          <pc:sldMk cId="1551344687" sldId="584"/>
        </pc:sldMkLst>
      </pc:sldChg>
    </pc:docChg>
  </pc:docChgLst>
  <pc:docChgLst>
    <pc:chgData name="Leah Selcer" userId="S::leah.selcer@neel-schaffer.com::ddebd5d7-5623-455e-9bcd-00ca1c79169d" providerId="AD" clId="Web-{360DAA52-50C6-3EFD-D7C4-2B16EF837B57}"/>
    <pc:docChg chg="modSld">
      <pc:chgData name="Leah Selcer" userId="S::leah.selcer@neel-schaffer.com::ddebd5d7-5623-455e-9bcd-00ca1c79169d" providerId="AD" clId="Web-{360DAA52-50C6-3EFD-D7C4-2B16EF837B57}" dt="2022-12-15T13:16:26.678" v="1" actId="1076"/>
      <pc:docMkLst>
        <pc:docMk/>
      </pc:docMkLst>
      <pc:sldChg chg="modSp">
        <pc:chgData name="Leah Selcer" userId="S::leah.selcer@neel-schaffer.com::ddebd5d7-5623-455e-9bcd-00ca1c79169d" providerId="AD" clId="Web-{360DAA52-50C6-3EFD-D7C4-2B16EF837B57}" dt="2022-12-15T13:16:26.678" v="1" actId="1076"/>
        <pc:sldMkLst>
          <pc:docMk/>
          <pc:sldMk cId="4216336834" sldId="603"/>
        </pc:sldMkLst>
        <pc:graphicFrameChg chg="mod">
          <ac:chgData name="Leah Selcer" userId="S::leah.selcer@neel-schaffer.com::ddebd5d7-5623-455e-9bcd-00ca1c79169d" providerId="AD" clId="Web-{360DAA52-50C6-3EFD-D7C4-2B16EF837B57}" dt="2022-12-15T13:16:26.678" v="1" actId="1076"/>
          <ac:graphicFrameMkLst>
            <pc:docMk/>
            <pc:sldMk cId="4216336834" sldId="603"/>
            <ac:graphicFrameMk id="4" creationId="{7944E22D-7FCD-4F2B-BF54-E89AB1A21F88}"/>
          </ac:graphicFrameMkLst>
        </pc:graphicFrameChg>
      </pc:sldChg>
    </pc:docChg>
  </pc:docChgLst>
  <pc:docChgLst>
    <pc:chgData name="Glenn Ledet" userId="S::glenn.ledet@neel-schaffer.com::872112e3-5206-4e32-a1d1-17892283609b" providerId="AD" clId="Web-{70CA646F-F4BA-CF06-E5C4-3E0FF8EBB028}"/>
    <pc:docChg chg="modSld sldOrd">
      <pc:chgData name="Glenn Ledet" userId="S::glenn.ledet@neel-schaffer.com::872112e3-5206-4e32-a1d1-17892283609b" providerId="AD" clId="Web-{70CA646F-F4BA-CF06-E5C4-3E0FF8EBB028}" dt="2022-12-14T20:27:53.635" v="46"/>
      <pc:docMkLst>
        <pc:docMk/>
      </pc:docMkLst>
      <pc:sldChg chg="ord">
        <pc:chgData name="Glenn Ledet" userId="S::glenn.ledet@neel-schaffer.com::872112e3-5206-4e32-a1d1-17892283609b" providerId="AD" clId="Web-{70CA646F-F4BA-CF06-E5C4-3E0FF8EBB028}" dt="2022-12-14T20:27:44.228" v="45"/>
        <pc:sldMkLst>
          <pc:docMk/>
          <pc:sldMk cId="1410351530" sldId="595"/>
        </pc:sldMkLst>
      </pc:sldChg>
      <pc:sldChg chg="modSp">
        <pc:chgData name="Glenn Ledet" userId="S::glenn.ledet@neel-schaffer.com::872112e3-5206-4e32-a1d1-17892283609b" providerId="AD" clId="Web-{70CA646F-F4BA-CF06-E5C4-3E0FF8EBB028}" dt="2022-12-14T20:26:17.834" v="22" actId="20577"/>
        <pc:sldMkLst>
          <pc:docMk/>
          <pc:sldMk cId="1523702280" sldId="612"/>
        </pc:sldMkLst>
        <pc:spChg chg="mod">
          <ac:chgData name="Glenn Ledet" userId="S::glenn.ledet@neel-schaffer.com::872112e3-5206-4e32-a1d1-17892283609b" providerId="AD" clId="Web-{70CA646F-F4BA-CF06-E5C4-3E0FF8EBB028}" dt="2022-12-14T20:26:17.834" v="22" actId="20577"/>
          <ac:spMkLst>
            <pc:docMk/>
            <pc:sldMk cId="1523702280" sldId="612"/>
            <ac:spMk id="12" creationId="{48F37892-5511-499B-8B26-DB9E8D046D48}"/>
          </ac:spMkLst>
        </pc:spChg>
      </pc:sldChg>
      <pc:sldChg chg="modSp">
        <pc:chgData name="Glenn Ledet" userId="S::glenn.ledet@neel-schaffer.com::872112e3-5206-4e32-a1d1-17892283609b" providerId="AD" clId="Web-{70CA646F-F4BA-CF06-E5C4-3E0FF8EBB028}" dt="2022-12-14T20:27:25.774" v="44" actId="20577"/>
        <pc:sldMkLst>
          <pc:docMk/>
          <pc:sldMk cId="3102114941" sldId="621"/>
        </pc:sldMkLst>
        <pc:spChg chg="mod">
          <ac:chgData name="Glenn Ledet" userId="S::glenn.ledet@neel-schaffer.com::872112e3-5206-4e32-a1d1-17892283609b" providerId="AD" clId="Web-{70CA646F-F4BA-CF06-E5C4-3E0FF8EBB028}" dt="2022-12-14T20:27:25.774" v="44" actId="20577"/>
          <ac:spMkLst>
            <pc:docMk/>
            <pc:sldMk cId="3102114941" sldId="621"/>
            <ac:spMk id="12" creationId="{48F37892-5511-499B-8B26-DB9E8D046D48}"/>
          </ac:spMkLst>
        </pc:spChg>
      </pc:sldChg>
      <pc:sldChg chg="delCm">
        <pc:chgData name="Glenn Ledet" userId="S::glenn.ledet@neel-schaffer.com::872112e3-5206-4e32-a1d1-17892283609b" providerId="AD" clId="Web-{70CA646F-F4BA-CF06-E5C4-3E0FF8EBB028}" dt="2022-12-14T20:27:53.635" v="46"/>
        <pc:sldMkLst>
          <pc:docMk/>
          <pc:sldMk cId="3051637077" sldId="642"/>
        </pc:sldMkLst>
      </pc:sldChg>
    </pc:docChg>
  </pc:docChgLst>
  <pc:docChgLst>
    <pc:chgData name="Glenn Ledet" userId="S::glenn.ledet@neel-schaffer.com::872112e3-5206-4e32-a1d1-17892283609b" providerId="AD" clId="Web-{7447A715-A3AC-FF1E-3D6C-AB56021360B2}"/>
    <pc:docChg chg="modSld">
      <pc:chgData name="Glenn Ledet" userId="S::glenn.ledet@neel-schaffer.com::872112e3-5206-4e32-a1d1-17892283609b" providerId="AD" clId="Web-{7447A715-A3AC-FF1E-3D6C-AB56021360B2}" dt="2022-12-12T14:14:40.065" v="278"/>
      <pc:docMkLst>
        <pc:docMk/>
      </pc:docMkLst>
      <pc:sldChg chg="modSp">
        <pc:chgData name="Glenn Ledet" userId="S::glenn.ledet@neel-schaffer.com::872112e3-5206-4e32-a1d1-17892283609b" providerId="AD" clId="Web-{7447A715-A3AC-FF1E-3D6C-AB56021360B2}" dt="2022-12-12T14:13:00.811" v="263"/>
        <pc:sldMkLst>
          <pc:docMk/>
          <pc:sldMk cId="1882857557" sldId="488"/>
        </pc:sldMkLst>
        <pc:spChg chg="mod">
          <ac:chgData name="Glenn Ledet" userId="S::glenn.ledet@neel-schaffer.com::872112e3-5206-4e32-a1d1-17892283609b" providerId="AD" clId="Web-{7447A715-A3AC-FF1E-3D6C-AB56021360B2}" dt="2022-12-12T14:08:07.723" v="182" actId="1076"/>
          <ac:spMkLst>
            <pc:docMk/>
            <pc:sldMk cId="1882857557" sldId="488"/>
            <ac:spMk id="3" creationId="{8EDC4E7E-AA76-422D-ADBC-4B2A292827B4}"/>
          </ac:spMkLst>
        </pc:spChg>
        <pc:spChg chg="mod">
          <ac:chgData name="Glenn Ledet" userId="S::glenn.ledet@neel-schaffer.com::872112e3-5206-4e32-a1d1-17892283609b" providerId="AD" clId="Web-{7447A715-A3AC-FF1E-3D6C-AB56021360B2}" dt="2022-12-12T14:08:48.146" v="207" actId="1076"/>
          <ac:spMkLst>
            <pc:docMk/>
            <pc:sldMk cId="1882857557" sldId="488"/>
            <ac:spMk id="4" creationId="{87269175-18BE-46A6-98B0-26557583F8C5}"/>
          </ac:spMkLst>
        </pc:spChg>
        <pc:graphicFrameChg chg="mod modGraphic">
          <ac:chgData name="Glenn Ledet" userId="S::glenn.ledet@neel-schaffer.com::872112e3-5206-4e32-a1d1-17892283609b" providerId="AD" clId="Web-{7447A715-A3AC-FF1E-3D6C-AB56021360B2}" dt="2022-12-12T14:13:00.811" v="263"/>
          <ac:graphicFrameMkLst>
            <pc:docMk/>
            <pc:sldMk cId="1882857557" sldId="488"/>
            <ac:graphicFrameMk id="6" creationId="{8AF9AE6A-D0E8-4965-B54E-9374AE8B8842}"/>
          </ac:graphicFrameMkLst>
        </pc:graphicFrameChg>
      </pc:sldChg>
      <pc:sldChg chg="modSp">
        <pc:chgData name="Glenn Ledet" userId="S::glenn.ledet@neel-schaffer.com::872112e3-5206-4e32-a1d1-17892283609b" providerId="AD" clId="Web-{7447A715-A3AC-FF1E-3D6C-AB56021360B2}" dt="2022-12-12T14:06:47.033" v="119" actId="20577"/>
        <pc:sldMkLst>
          <pc:docMk/>
          <pc:sldMk cId="589566122" sldId="491"/>
        </pc:sldMkLst>
        <pc:spChg chg="mod">
          <ac:chgData name="Glenn Ledet" userId="S::glenn.ledet@neel-schaffer.com::872112e3-5206-4e32-a1d1-17892283609b" providerId="AD" clId="Web-{7447A715-A3AC-FF1E-3D6C-AB56021360B2}" dt="2022-12-12T14:06:47.033" v="119" actId="20577"/>
          <ac:spMkLst>
            <pc:docMk/>
            <pc:sldMk cId="589566122" sldId="491"/>
            <ac:spMk id="3" creationId="{09A1F398-0840-0140-83CE-A611DB97F3EF}"/>
          </ac:spMkLst>
        </pc:spChg>
      </pc:sldChg>
      <pc:sldChg chg="modSp">
        <pc:chgData name="Glenn Ledet" userId="S::glenn.ledet@neel-schaffer.com::872112e3-5206-4e32-a1d1-17892283609b" providerId="AD" clId="Web-{7447A715-A3AC-FF1E-3D6C-AB56021360B2}" dt="2022-12-12T14:13:40.985" v="265" actId="20577"/>
        <pc:sldMkLst>
          <pc:docMk/>
          <pc:sldMk cId="1031080140" sldId="539"/>
        </pc:sldMkLst>
        <pc:spChg chg="mod">
          <ac:chgData name="Glenn Ledet" userId="S::glenn.ledet@neel-schaffer.com::872112e3-5206-4e32-a1d1-17892283609b" providerId="AD" clId="Web-{7447A715-A3AC-FF1E-3D6C-AB56021360B2}" dt="2022-12-12T14:13:40.985" v="265" actId="20577"/>
          <ac:spMkLst>
            <pc:docMk/>
            <pc:sldMk cId="1031080140" sldId="539"/>
            <ac:spMk id="6" creationId="{29AC3893-44D6-4392-B8DD-6E34B129EDAA}"/>
          </ac:spMkLst>
        </pc:spChg>
      </pc:sldChg>
      <pc:sldChg chg="modSp">
        <pc:chgData name="Glenn Ledet" userId="S::glenn.ledet@neel-schaffer.com::872112e3-5206-4e32-a1d1-17892283609b" providerId="AD" clId="Web-{7447A715-A3AC-FF1E-3D6C-AB56021360B2}" dt="2022-12-12T14:01:46.304" v="39" actId="20577"/>
        <pc:sldMkLst>
          <pc:docMk/>
          <pc:sldMk cId="82294556" sldId="566"/>
        </pc:sldMkLst>
        <pc:graphicFrameChg chg="modGraphic">
          <ac:chgData name="Glenn Ledet" userId="S::glenn.ledet@neel-schaffer.com::872112e3-5206-4e32-a1d1-17892283609b" providerId="AD" clId="Web-{7447A715-A3AC-FF1E-3D6C-AB56021360B2}" dt="2022-12-12T14:01:46.304" v="39" actId="20577"/>
          <ac:graphicFrameMkLst>
            <pc:docMk/>
            <pc:sldMk cId="82294556" sldId="566"/>
            <ac:graphicFrameMk id="4" creationId="{71529B3F-BF68-8C7E-E654-1ACB78E0260F}"/>
          </ac:graphicFrameMkLst>
        </pc:graphicFrameChg>
      </pc:sldChg>
      <pc:sldChg chg="modSp">
        <pc:chgData name="Glenn Ledet" userId="S::glenn.ledet@neel-schaffer.com::872112e3-5206-4e32-a1d1-17892283609b" providerId="AD" clId="Web-{7447A715-A3AC-FF1E-3D6C-AB56021360B2}" dt="2022-12-12T14:01:57.382" v="41" actId="1076"/>
        <pc:sldMkLst>
          <pc:docMk/>
          <pc:sldMk cId="3934733957" sldId="590"/>
        </pc:sldMkLst>
        <pc:spChg chg="mod">
          <ac:chgData name="Glenn Ledet" userId="S::glenn.ledet@neel-schaffer.com::872112e3-5206-4e32-a1d1-17892283609b" providerId="AD" clId="Web-{7447A715-A3AC-FF1E-3D6C-AB56021360B2}" dt="2022-12-12T14:01:54.554" v="40" actId="1076"/>
          <ac:spMkLst>
            <pc:docMk/>
            <pc:sldMk cId="3934733957" sldId="590"/>
            <ac:spMk id="4" creationId="{6D1D1EED-A1E1-E820-1102-52C10077B29E}"/>
          </ac:spMkLst>
        </pc:spChg>
        <pc:picChg chg="mod">
          <ac:chgData name="Glenn Ledet" userId="S::glenn.ledet@neel-schaffer.com::872112e3-5206-4e32-a1d1-17892283609b" providerId="AD" clId="Web-{7447A715-A3AC-FF1E-3D6C-AB56021360B2}" dt="2022-12-12T14:01:57.382" v="41" actId="1076"/>
          <ac:picMkLst>
            <pc:docMk/>
            <pc:sldMk cId="3934733957" sldId="590"/>
            <ac:picMk id="3" creationId="{BEE3C15D-3961-3ED4-EC63-0FE372C5C505}"/>
          </ac:picMkLst>
        </pc:picChg>
      </pc:sldChg>
      <pc:sldChg chg="modSp">
        <pc:chgData name="Glenn Ledet" userId="S::glenn.ledet@neel-schaffer.com::872112e3-5206-4e32-a1d1-17892283609b" providerId="AD" clId="Web-{7447A715-A3AC-FF1E-3D6C-AB56021360B2}" dt="2022-12-12T14:04:45.810" v="100" actId="20577"/>
        <pc:sldMkLst>
          <pc:docMk/>
          <pc:sldMk cId="2895423667" sldId="613"/>
        </pc:sldMkLst>
        <pc:spChg chg="mod">
          <ac:chgData name="Glenn Ledet" userId="S::glenn.ledet@neel-schaffer.com::872112e3-5206-4e32-a1d1-17892283609b" providerId="AD" clId="Web-{7447A715-A3AC-FF1E-3D6C-AB56021360B2}" dt="2022-12-12T14:04:45.810" v="100" actId="20577"/>
          <ac:spMkLst>
            <pc:docMk/>
            <pc:sldMk cId="2895423667" sldId="613"/>
            <ac:spMk id="12" creationId="{48F37892-5511-499B-8B26-DB9E8D046D48}"/>
          </ac:spMkLst>
        </pc:spChg>
        <pc:picChg chg="mod">
          <ac:chgData name="Glenn Ledet" userId="S::glenn.ledet@neel-schaffer.com::872112e3-5206-4e32-a1d1-17892283609b" providerId="AD" clId="Web-{7447A715-A3AC-FF1E-3D6C-AB56021360B2}" dt="2022-12-12T14:03:35.917" v="65" actId="1076"/>
          <ac:picMkLst>
            <pc:docMk/>
            <pc:sldMk cId="2895423667" sldId="613"/>
            <ac:picMk id="4" creationId="{C17104BC-4C6A-4AFD-950C-649AB40EEA77}"/>
          </ac:picMkLst>
        </pc:picChg>
        <pc:picChg chg="mod">
          <ac:chgData name="Glenn Ledet" userId="S::glenn.ledet@neel-schaffer.com::872112e3-5206-4e32-a1d1-17892283609b" providerId="AD" clId="Web-{7447A715-A3AC-FF1E-3D6C-AB56021360B2}" dt="2022-12-12T14:03:37.261" v="66" actId="1076"/>
          <ac:picMkLst>
            <pc:docMk/>
            <pc:sldMk cId="2895423667" sldId="613"/>
            <ac:picMk id="7" creationId="{21AD3BD8-B800-B131-1D29-54E527316147}"/>
          </ac:picMkLst>
        </pc:picChg>
      </pc:sldChg>
      <pc:sldChg chg="modSp">
        <pc:chgData name="Glenn Ledet" userId="S::glenn.ledet@neel-schaffer.com::872112e3-5206-4e32-a1d1-17892283609b" providerId="AD" clId="Web-{7447A715-A3AC-FF1E-3D6C-AB56021360B2}" dt="2022-12-12T14:14:40.065" v="278"/>
        <pc:sldMkLst>
          <pc:docMk/>
          <pc:sldMk cId="470351898" sldId="614"/>
        </pc:sldMkLst>
        <pc:graphicFrameChg chg="mod modGraphic">
          <ac:chgData name="Glenn Ledet" userId="S::glenn.ledet@neel-schaffer.com::872112e3-5206-4e32-a1d1-17892283609b" providerId="AD" clId="Web-{7447A715-A3AC-FF1E-3D6C-AB56021360B2}" dt="2022-12-12T14:14:40.065" v="278"/>
          <ac:graphicFrameMkLst>
            <pc:docMk/>
            <pc:sldMk cId="470351898" sldId="614"/>
            <ac:graphicFrameMk id="7" creationId="{BBBA6C76-522D-015F-7F8D-89688DB3ECD0}"/>
          </ac:graphicFrameMkLst>
        </pc:graphicFrameChg>
      </pc:sldChg>
      <pc:sldChg chg="modSp">
        <pc:chgData name="Glenn Ledet" userId="S::glenn.ledet@neel-schaffer.com::872112e3-5206-4e32-a1d1-17892283609b" providerId="AD" clId="Web-{7447A715-A3AC-FF1E-3D6C-AB56021360B2}" dt="2022-12-12T13:58:26.281" v="25" actId="1076"/>
        <pc:sldMkLst>
          <pc:docMk/>
          <pc:sldMk cId="1566969012" sldId="618"/>
        </pc:sldMkLst>
        <pc:picChg chg="mod">
          <ac:chgData name="Glenn Ledet" userId="S::glenn.ledet@neel-schaffer.com::872112e3-5206-4e32-a1d1-17892283609b" providerId="AD" clId="Web-{7447A715-A3AC-FF1E-3D6C-AB56021360B2}" dt="2022-12-12T13:58:26.281" v="25" actId="1076"/>
          <ac:picMkLst>
            <pc:docMk/>
            <pc:sldMk cId="1566969012" sldId="618"/>
            <ac:picMk id="7" creationId="{F2CA40AF-1A3B-46E6-0B91-931F1B8085CD}"/>
          </ac:picMkLst>
        </pc:picChg>
      </pc:sldChg>
      <pc:sldChg chg="addSp delSp modSp mod modClrScheme chgLayout">
        <pc:chgData name="Glenn Ledet" userId="S::glenn.ledet@neel-schaffer.com::872112e3-5206-4e32-a1d1-17892283609b" providerId="AD" clId="Web-{7447A715-A3AC-FF1E-3D6C-AB56021360B2}" dt="2022-12-12T14:00:56.474" v="34"/>
        <pc:sldMkLst>
          <pc:docMk/>
          <pc:sldMk cId="3558309199" sldId="625"/>
        </pc:sldMkLst>
        <pc:spChg chg="del">
          <ac:chgData name="Glenn Ledet" userId="S::glenn.ledet@neel-schaffer.com::872112e3-5206-4e32-a1d1-17892283609b" providerId="AD" clId="Web-{7447A715-A3AC-FF1E-3D6C-AB56021360B2}" dt="2022-12-12T13:59:45.940" v="31"/>
          <ac:spMkLst>
            <pc:docMk/>
            <pc:sldMk cId="3558309199" sldId="625"/>
            <ac:spMk id="6" creationId="{BE8C52C5-CA17-E561-C4DB-588128C75B3C}"/>
          </ac:spMkLst>
        </pc:spChg>
        <pc:spChg chg="add mod">
          <ac:chgData name="Glenn Ledet" userId="S::glenn.ledet@neel-schaffer.com::872112e3-5206-4e32-a1d1-17892283609b" providerId="AD" clId="Web-{7447A715-A3AC-FF1E-3D6C-AB56021360B2}" dt="2022-12-12T14:00:56.474" v="34"/>
          <ac:spMkLst>
            <pc:docMk/>
            <pc:sldMk cId="3558309199" sldId="625"/>
            <ac:spMk id="7" creationId="{02BEB3C0-0385-6905-7C22-5DAE4A489947}"/>
          </ac:spMkLst>
        </pc:spChg>
        <pc:picChg chg="add mod">
          <ac:chgData name="Glenn Ledet" userId="S::glenn.ledet@neel-schaffer.com::872112e3-5206-4e32-a1d1-17892283609b" providerId="AD" clId="Web-{7447A715-A3AC-FF1E-3D6C-AB56021360B2}" dt="2022-12-12T14:00:56.474" v="34"/>
          <ac:picMkLst>
            <pc:docMk/>
            <pc:sldMk cId="3558309199" sldId="625"/>
            <ac:picMk id="2" creationId="{B4884BF1-2427-94FF-12B8-7D53871C4B3E}"/>
          </ac:picMkLst>
        </pc:picChg>
      </pc:sldChg>
      <pc:sldChg chg="modSp">
        <pc:chgData name="Glenn Ledet" userId="S::glenn.ledet@neel-schaffer.com::872112e3-5206-4e32-a1d1-17892283609b" providerId="AD" clId="Web-{7447A715-A3AC-FF1E-3D6C-AB56021360B2}" dt="2022-12-12T13:58:53.860" v="28" actId="20577"/>
        <pc:sldMkLst>
          <pc:docMk/>
          <pc:sldMk cId="3831277245" sldId="628"/>
        </pc:sldMkLst>
        <pc:spChg chg="mod">
          <ac:chgData name="Glenn Ledet" userId="S::glenn.ledet@neel-schaffer.com::872112e3-5206-4e32-a1d1-17892283609b" providerId="AD" clId="Web-{7447A715-A3AC-FF1E-3D6C-AB56021360B2}" dt="2022-12-12T13:58:53.860" v="28" actId="20577"/>
          <ac:spMkLst>
            <pc:docMk/>
            <pc:sldMk cId="3831277245" sldId="628"/>
            <ac:spMk id="12" creationId="{48F37892-5511-499B-8B26-DB9E8D046D48}"/>
          </ac:spMkLst>
        </pc:spChg>
      </pc:sldChg>
    </pc:docChg>
  </pc:docChgLst>
  <pc:docChgLst>
    <pc:chgData name="Leah Selcer" userId="S::leah.selcer@neel-schaffer.com::ddebd5d7-5623-455e-9bcd-00ca1c79169d" providerId="AD" clId="Web-{7152A334-8232-39A1-101C-CB60A14D8620}"/>
    <pc:docChg chg="">
      <pc:chgData name="Leah Selcer" userId="S::leah.selcer@neel-schaffer.com::ddebd5d7-5623-455e-9bcd-00ca1c79169d" providerId="AD" clId="Web-{7152A334-8232-39A1-101C-CB60A14D8620}" dt="2022-12-15T00:19:35.093" v="0"/>
      <pc:docMkLst>
        <pc:docMk/>
      </pc:docMkLst>
      <pc:sldChg chg="delCm">
        <pc:chgData name="Leah Selcer" userId="S::leah.selcer@neel-schaffer.com::ddebd5d7-5623-455e-9bcd-00ca1c79169d" providerId="AD" clId="Web-{7152A334-8232-39A1-101C-CB60A14D8620}" dt="2022-12-15T00:19:35.093" v="0"/>
        <pc:sldMkLst>
          <pc:docMk/>
          <pc:sldMk cId="2895423667" sldId="613"/>
        </pc:sldMkLst>
      </pc:sldChg>
    </pc:docChg>
  </pc:docChgLst>
  <pc:docChgLst>
    <pc:chgData name="katie.freer@la.gov" userId="S::katie.freer_la.gov#ext#@sprintcloud1001092.onmicrosoft.com::4bbf2aad-bf49-45bc-a5ef-553704949c30" providerId="AD" clId="Web-{895BBDA5-BE18-CEA5-74AC-35E4168F4010}"/>
    <pc:docChg chg="modSld">
      <pc:chgData name="katie.freer@la.gov" userId="S::katie.freer_la.gov#ext#@sprintcloud1001092.onmicrosoft.com::4bbf2aad-bf49-45bc-a5ef-553704949c30" providerId="AD" clId="Web-{895BBDA5-BE18-CEA5-74AC-35E4168F4010}" dt="2022-12-14T22:44:33.367" v="0"/>
      <pc:docMkLst>
        <pc:docMk/>
      </pc:docMkLst>
      <pc:sldChg chg="addSp">
        <pc:chgData name="katie.freer@la.gov" userId="S::katie.freer_la.gov#ext#@sprintcloud1001092.onmicrosoft.com::4bbf2aad-bf49-45bc-a5ef-553704949c30" providerId="AD" clId="Web-{895BBDA5-BE18-CEA5-74AC-35E4168F4010}" dt="2022-12-14T22:44:33.367" v="0"/>
        <pc:sldMkLst>
          <pc:docMk/>
          <pc:sldMk cId="3102114941" sldId="621"/>
        </pc:sldMkLst>
        <pc:grpChg chg="add">
          <ac:chgData name="katie.freer@la.gov" userId="S::katie.freer_la.gov#ext#@sprintcloud1001092.onmicrosoft.com::4bbf2aad-bf49-45bc-a5ef-553704949c30" providerId="AD" clId="Web-{895BBDA5-BE18-CEA5-74AC-35E4168F4010}" dt="2022-12-14T22:44:33.367" v="0"/>
          <ac:grpSpMkLst>
            <pc:docMk/>
            <pc:sldMk cId="3102114941" sldId="621"/>
            <ac:grpSpMk id="7" creationId="{45331DEF-600D-258D-1BDE-ED7C73BA748E}"/>
          </ac:grpSpMkLst>
        </pc:grpChg>
      </pc:sldChg>
    </pc:docChg>
  </pc:docChgLst>
  <pc:docChgLst>
    <pc:chgData name="Leah Selcer" userId="S::leah.selcer@neel-schaffer.com::ddebd5d7-5623-455e-9bcd-00ca1c79169d" providerId="AD" clId="Web-{C6CB1D9A-77A0-0DA7-3F6E-79FEFF2970C4}"/>
    <pc:docChg chg="modSld">
      <pc:chgData name="Leah Selcer" userId="S::leah.selcer@neel-schaffer.com::ddebd5d7-5623-455e-9bcd-00ca1c79169d" providerId="AD" clId="Web-{C6CB1D9A-77A0-0DA7-3F6E-79FEFF2970C4}" dt="2022-12-13T23:48:42.469" v="9" actId="20577"/>
      <pc:docMkLst>
        <pc:docMk/>
      </pc:docMkLst>
      <pc:sldChg chg="modCm">
        <pc:chgData name="Leah Selcer" userId="S::leah.selcer@neel-schaffer.com::ddebd5d7-5623-455e-9bcd-00ca1c79169d" providerId="AD" clId="Web-{C6CB1D9A-77A0-0DA7-3F6E-79FEFF2970C4}" dt="2022-12-13T23:47:18.513" v="0"/>
        <pc:sldMkLst>
          <pc:docMk/>
          <pc:sldMk cId="1551344687" sldId="584"/>
        </pc:sldMkLst>
      </pc:sldChg>
      <pc:sldChg chg="addSp delSp modSp">
        <pc:chgData name="Leah Selcer" userId="S::leah.selcer@neel-schaffer.com::ddebd5d7-5623-455e-9bcd-00ca1c79169d" providerId="AD" clId="Web-{C6CB1D9A-77A0-0DA7-3F6E-79FEFF2970C4}" dt="2022-12-13T23:48:42.469" v="9" actId="20577"/>
        <pc:sldMkLst>
          <pc:docMk/>
          <pc:sldMk cId="1533576855" sldId="648"/>
        </pc:sldMkLst>
        <pc:spChg chg="mod">
          <ac:chgData name="Leah Selcer" userId="S::leah.selcer@neel-schaffer.com::ddebd5d7-5623-455e-9bcd-00ca1c79169d" providerId="AD" clId="Web-{C6CB1D9A-77A0-0DA7-3F6E-79FEFF2970C4}" dt="2022-12-13T23:48:42.469" v="9" actId="20577"/>
          <ac:spMkLst>
            <pc:docMk/>
            <pc:sldMk cId="1533576855" sldId="648"/>
            <ac:spMk id="6" creationId="{32EBC814-855D-433A-0C64-85F8E701C853}"/>
          </ac:spMkLst>
        </pc:spChg>
        <pc:picChg chg="del">
          <ac:chgData name="Leah Selcer" userId="S::leah.selcer@neel-schaffer.com::ddebd5d7-5623-455e-9bcd-00ca1c79169d" providerId="AD" clId="Web-{C6CB1D9A-77A0-0DA7-3F6E-79FEFF2970C4}" dt="2022-12-13T23:48:10.109" v="1"/>
          <ac:picMkLst>
            <pc:docMk/>
            <pc:sldMk cId="1533576855" sldId="648"/>
            <ac:picMk id="3" creationId="{D009AF5C-267D-1025-C08D-5671D33B0854}"/>
          </ac:picMkLst>
        </pc:picChg>
        <pc:picChg chg="add mod">
          <ac:chgData name="Leah Selcer" userId="S::leah.selcer@neel-schaffer.com::ddebd5d7-5623-455e-9bcd-00ca1c79169d" providerId="AD" clId="Web-{C6CB1D9A-77A0-0DA7-3F6E-79FEFF2970C4}" dt="2022-12-13T23:48:23.281" v="6" actId="1076"/>
          <ac:picMkLst>
            <pc:docMk/>
            <pc:sldMk cId="1533576855" sldId="648"/>
            <ac:picMk id="5" creationId="{C570F1FB-7696-7EB2-2A65-34AF129CBAF2}"/>
          </ac:picMkLst>
        </pc:picChg>
      </pc:sldChg>
    </pc:docChg>
  </pc:docChgLst>
  <pc:docChgLst>
    <pc:chgData name="Glenn Ledet" userId="S::glenn.ledet@neel-schaffer.com::872112e3-5206-4e32-a1d1-17892283609b" providerId="AD" clId="Web-{93D1F51E-EE46-A7F4-55C7-0A5899D97FD2}"/>
    <pc:docChg chg="modSld">
      <pc:chgData name="Glenn Ledet" userId="S::glenn.ledet@neel-schaffer.com::872112e3-5206-4e32-a1d1-17892283609b" providerId="AD" clId="Web-{93D1F51E-EE46-A7F4-55C7-0A5899D97FD2}" dt="2022-12-09T21:41:16.037" v="5" actId="20577"/>
      <pc:docMkLst>
        <pc:docMk/>
      </pc:docMkLst>
      <pc:sldChg chg="modSp">
        <pc:chgData name="Glenn Ledet" userId="S::glenn.ledet@neel-schaffer.com::872112e3-5206-4e32-a1d1-17892283609b" providerId="AD" clId="Web-{93D1F51E-EE46-A7F4-55C7-0A5899D97FD2}" dt="2022-12-09T21:41:16.037" v="5" actId="20577"/>
        <pc:sldMkLst>
          <pc:docMk/>
          <pc:sldMk cId="1615606540" sldId="435"/>
        </pc:sldMkLst>
        <pc:spChg chg="mod">
          <ac:chgData name="Glenn Ledet" userId="S::glenn.ledet@neel-schaffer.com::872112e3-5206-4e32-a1d1-17892283609b" providerId="AD" clId="Web-{93D1F51E-EE46-A7F4-55C7-0A5899D97FD2}" dt="2022-12-09T21:41:16.037" v="5" actId="20577"/>
          <ac:spMkLst>
            <pc:docMk/>
            <pc:sldMk cId="1615606540" sldId="435"/>
            <ac:spMk id="28" creationId="{84528D89-BDCC-F34C-805A-7F286F42A667}"/>
          </ac:spMkLst>
        </pc:spChg>
      </pc:sldChg>
    </pc:docChg>
  </pc:docChgLst>
  <pc:docChgLst>
    <pc:chgData name="katie.freer@la.gov" userId="S::katie.freer_la.gov#ext#@sprintcloud1001092.onmicrosoft.com::4bbf2aad-bf49-45bc-a5ef-553704949c30" providerId="AD" clId="Web-{85E8499B-E654-948D-F5B2-94B20DB78AF6}"/>
    <pc:docChg chg="modSld">
      <pc:chgData name="katie.freer@la.gov" userId="S::katie.freer_la.gov#ext#@sprintcloud1001092.onmicrosoft.com::4bbf2aad-bf49-45bc-a5ef-553704949c30" providerId="AD" clId="Web-{85E8499B-E654-948D-F5B2-94B20DB78AF6}" dt="2022-12-14T14:59:02.713" v="22" actId="20577"/>
      <pc:docMkLst>
        <pc:docMk/>
      </pc:docMkLst>
      <pc:sldChg chg="modSp">
        <pc:chgData name="katie.freer@la.gov" userId="S::katie.freer_la.gov#ext#@sprintcloud1001092.onmicrosoft.com::4bbf2aad-bf49-45bc-a5ef-553704949c30" providerId="AD" clId="Web-{85E8499B-E654-948D-F5B2-94B20DB78AF6}" dt="2022-12-14T14:59:02.713" v="22" actId="20577"/>
        <pc:sldMkLst>
          <pc:docMk/>
          <pc:sldMk cId="1533576855" sldId="648"/>
        </pc:sldMkLst>
        <pc:spChg chg="mod">
          <ac:chgData name="katie.freer@la.gov" userId="S::katie.freer_la.gov#ext#@sprintcloud1001092.onmicrosoft.com::4bbf2aad-bf49-45bc-a5ef-553704949c30" providerId="AD" clId="Web-{85E8499B-E654-948D-F5B2-94B20DB78AF6}" dt="2022-12-14T14:59:02.713" v="22" actId="20577"/>
          <ac:spMkLst>
            <pc:docMk/>
            <pc:sldMk cId="1533576855" sldId="648"/>
            <ac:spMk id="2" creationId="{F7347354-9C9F-8428-057D-631E0AA4EB16}"/>
          </ac:spMkLst>
        </pc:spChg>
      </pc:sldChg>
    </pc:docChg>
  </pc:docChgLst>
  <pc:docChgLst>
    <pc:chgData name="katie.freer@la.gov" userId="S::katie.freer_la.gov#ext#@sprintcloud1001092.onmicrosoft.com::4bbf2aad-bf49-45bc-a5ef-553704949c30" providerId="AD" clId="Web-{0F08E93F-2A0B-1492-DD6F-FBA47C0B675B}"/>
    <pc:docChg chg="modSld">
      <pc:chgData name="katie.freer@la.gov" userId="S::katie.freer_la.gov#ext#@sprintcloud1001092.onmicrosoft.com::4bbf2aad-bf49-45bc-a5ef-553704949c30" providerId="AD" clId="Web-{0F08E93F-2A0B-1492-DD6F-FBA47C0B675B}" dt="2022-12-13T22:43:24.195" v="1358"/>
      <pc:docMkLst>
        <pc:docMk/>
      </pc:docMkLst>
      <pc:sldChg chg="modSp">
        <pc:chgData name="katie.freer@la.gov" userId="S::katie.freer_la.gov#ext#@sprintcloud1001092.onmicrosoft.com::4bbf2aad-bf49-45bc-a5ef-553704949c30" providerId="AD" clId="Web-{0F08E93F-2A0B-1492-DD6F-FBA47C0B675B}" dt="2022-12-13T22:24:28.644" v="1050" actId="20577"/>
        <pc:sldMkLst>
          <pc:docMk/>
          <pc:sldMk cId="916288481" sldId="477"/>
        </pc:sldMkLst>
        <pc:spChg chg="mod">
          <ac:chgData name="katie.freer@la.gov" userId="S::katie.freer_la.gov#ext#@sprintcloud1001092.onmicrosoft.com::4bbf2aad-bf49-45bc-a5ef-553704949c30" providerId="AD" clId="Web-{0F08E93F-2A0B-1492-DD6F-FBA47C0B675B}" dt="2022-12-13T22:24:28.644" v="1050" actId="20577"/>
          <ac:spMkLst>
            <pc:docMk/>
            <pc:sldMk cId="916288481" sldId="477"/>
            <ac:spMk id="3" creationId="{09A1F398-0840-0140-83CE-A611DB97F3EF}"/>
          </ac:spMkLst>
        </pc:spChg>
      </pc:sldChg>
      <pc:sldChg chg="delSp modSp">
        <pc:chgData name="katie.freer@la.gov" userId="S::katie.freer_la.gov#ext#@sprintcloud1001092.onmicrosoft.com::4bbf2aad-bf49-45bc-a5ef-553704949c30" providerId="AD" clId="Web-{0F08E93F-2A0B-1492-DD6F-FBA47C0B675B}" dt="2022-12-13T16:07:02.559" v="14"/>
        <pc:sldMkLst>
          <pc:docMk/>
          <pc:sldMk cId="2726897465" sldId="485"/>
        </pc:sldMkLst>
        <pc:spChg chg="mod">
          <ac:chgData name="katie.freer@la.gov" userId="S::katie.freer_la.gov#ext#@sprintcloud1001092.onmicrosoft.com::4bbf2aad-bf49-45bc-a5ef-553704949c30" providerId="AD" clId="Web-{0F08E93F-2A0B-1492-DD6F-FBA47C0B675B}" dt="2022-12-13T16:05:59.525" v="13" actId="20577"/>
          <ac:spMkLst>
            <pc:docMk/>
            <pc:sldMk cId="2726897465" sldId="485"/>
            <ac:spMk id="3" creationId="{09A1F398-0840-0140-83CE-A611DB97F3EF}"/>
          </ac:spMkLst>
        </pc:spChg>
        <pc:spChg chg="del">
          <ac:chgData name="katie.freer@la.gov" userId="S::katie.freer_la.gov#ext#@sprintcloud1001092.onmicrosoft.com::4bbf2aad-bf49-45bc-a5ef-553704949c30" providerId="AD" clId="Web-{0F08E93F-2A0B-1492-DD6F-FBA47C0B675B}" dt="2022-12-13T16:05:07.664" v="0"/>
          <ac:spMkLst>
            <pc:docMk/>
            <pc:sldMk cId="2726897465" sldId="485"/>
            <ac:spMk id="4" creationId="{00000000-0000-0000-0000-000000000000}"/>
          </ac:spMkLst>
        </pc:spChg>
        <pc:spChg chg="del mod">
          <ac:chgData name="katie.freer@la.gov" userId="S::katie.freer_la.gov#ext#@sprintcloud1001092.onmicrosoft.com::4bbf2aad-bf49-45bc-a5ef-553704949c30" providerId="AD" clId="Web-{0F08E93F-2A0B-1492-DD6F-FBA47C0B675B}" dt="2022-12-13T16:07:02.559" v="14"/>
          <ac:spMkLst>
            <pc:docMk/>
            <pc:sldMk cId="2726897465" sldId="485"/>
            <ac:spMk id="12" creationId="{683701E8-19DC-4126-B2F4-5010455773F4}"/>
          </ac:spMkLst>
        </pc:spChg>
        <pc:grpChg chg="mod">
          <ac:chgData name="katie.freer@la.gov" userId="S::katie.freer_la.gov#ext#@sprintcloud1001092.onmicrosoft.com::4bbf2aad-bf49-45bc-a5ef-553704949c30" providerId="AD" clId="Web-{0F08E93F-2A0B-1492-DD6F-FBA47C0B675B}" dt="2022-12-13T16:05:37.743" v="8" actId="1076"/>
          <ac:grpSpMkLst>
            <pc:docMk/>
            <pc:sldMk cId="2726897465" sldId="485"/>
            <ac:grpSpMk id="13" creationId="{828D1D1D-FDA5-44F4-8D7A-746068A163FF}"/>
          </ac:grpSpMkLst>
        </pc:grpChg>
      </pc:sldChg>
      <pc:sldChg chg="modSp">
        <pc:chgData name="katie.freer@la.gov" userId="S::katie.freer_la.gov#ext#@sprintcloud1001092.onmicrosoft.com::4bbf2aad-bf49-45bc-a5ef-553704949c30" providerId="AD" clId="Web-{0F08E93F-2A0B-1492-DD6F-FBA47C0B675B}" dt="2022-12-13T16:24:54.360" v="141" actId="14100"/>
        <pc:sldMkLst>
          <pc:docMk/>
          <pc:sldMk cId="1466892756" sldId="486"/>
        </pc:sldMkLst>
        <pc:spChg chg="mod">
          <ac:chgData name="katie.freer@la.gov" userId="S::katie.freer_la.gov#ext#@sprintcloud1001092.onmicrosoft.com::4bbf2aad-bf49-45bc-a5ef-553704949c30" providerId="AD" clId="Web-{0F08E93F-2A0B-1492-DD6F-FBA47C0B675B}" dt="2022-12-13T16:24:54.360" v="141" actId="14100"/>
          <ac:spMkLst>
            <pc:docMk/>
            <pc:sldMk cId="1466892756" sldId="486"/>
            <ac:spMk id="3" creationId="{09A1F398-0840-0140-83CE-A611DB97F3EF}"/>
          </ac:spMkLst>
        </pc:spChg>
      </pc:sldChg>
      <pc:sldChg chg="modSp">
        <pc:chgData name="katie.freer@la.gov" userId="S::katie.freer_la.gov#ext#@sprintcloud1001092.onmicrosoft.com::4bbf2aad-bf49-45bc-a5ef-553704949c30" providerId="AD" clId="Web-{0F08E93F-2A0B-1492-DD6F-FBA47C0B675B}" dt="2022-12-13T20:41:54.197" v="167" actId="20577"/>
        <pc:sldMkLst>
          <pc:docMk/>
          <pc:sldMk cId="82294556" sldId="566"/>
        </pc:sldMkLst>
        <pc:graphicFrameChg chg="modGraphic">
          <ac:chgData name="katie.freer@la.gov" userId="S::katie.freer_la.gov#ext#@sprintcloud1001092.onmicrosoft.com::4bbf2aad-bf49-45bc-a5ef-553704949c30" providerId="AD" clId="Web-{0F08E93F-2A0B-1492-DD6F-FBA47C0B675B}" dt="2022-12-13T20:41:54.197" v="167" actId="20577"/>
          <ac:graphicFrameMkLst>
            <pc:docMk/>
            <pc:sldMk cId="82294556" sldId="566"/>
            <ac:graphicFrameMk id="4" creationId="{71529B3F-BF68-8C7E-E654-1ACB78E0260F}"/>
          </ac:graphicFrameMkLst>
        </pc:graphicFrameChg>
        <pc:graphicFrameChg chg="mod modGraphic">
          <ac:chgData name="katie.freer@la.gov" userId="S::katie.freer_la.gov#ext#@sprintcloud1001092.onmicrosoft.com::4bbf2aad-bf49-45bc-a5ef-553704949c30" providerId="AD" clId="Web-{0F08E93F-2A0B-1492-DD6F-FBA47C0B675B}" dt="2022-12-13T20:41:16.289" v="157" actId="20577"/>
          <ac:graphicFrameMkLst>
            <pc:docMk/>
            <pc:sldMk cId="82294556" sldId="566"/>
            <ac:graphicFrameMk id="5" creationId="{91AD16D8-B6E8-07A8-6149-2BC562CF6074}"/>
          </ac:graphicFrameMkLst>
        </pc:graphicFrameChg>
      </pc:sldChg>
      <pc:sldChg chg="modSp">
        <pc:chgData name="katie.freer@la.gov" userId="S::katie.freer_la.gov#ext#@sprintcloud1001092.onmicrosoft.com::4bbf2aad-bf49-45bc-a5ef-553704949c30" providerId="AD" clId="Web-{0F08E93F-2A0B-1492-DD6F-FBA47C0B675B}" dt="2022-12-13T16:13:41.432" v="71" actId="20577"/>
        <pc:sldMkLst>
          <pc:docMk/>
          <pc:sldMk cId="682800000" sldId="579"/>
        </pc:sldMkLst>
        <pc:graphicFrameChg chg="modGraphic">
          <ac:chgData name="katie.freer@la.gov" userId="S::katie.freer_la.gov#ext#@sprintcloud1001092.onmicrosoft.com::4bbf2aad-bf49-45bc-a5ef-553704949c30" providerId="AD" clId="Web-{0F08E93F-2A0B-1492-DD6F-FBA47C0B675B}" dt="2022-12-13T16:13:41.432" v="71" actId="20577"/>
          <ac:graphicFrameMkLst>
            <pc:docMk/>
            <pc:sldMk cId="682800000" sldId="579"/>
            <ac:graphicFrameMk id="5" creationId="{E824A7AC-13CF-4349-A9E1-728CA58A20CB}"/>
          </ac:graphicFrameMkLst>
        </pc:graphicFrameChg>
      </pc:sldChg>
      <pc:sldChg chg="modSp">
        <pc:chgData name="katie.freer@la.gov" userId="S::katie.freer_la.gov#ext#@sprintcloud1001092.onmicrosoft.com::4bbf2aad-bf49-45bc-a5ef-553704949c30" providerId="AD" clId="Web-{0F08E93F-2A0B-1492-DD6F-FBA47C0B675B}" dt="2022-12-13T22:23:41.830" v="1047" actId="20577"/>
        <pc:sldMkLst>
          <pc:docMk/>
          <pc:sldMk cId="3934733957" sldId="590"/>
        </pc:sldMkLst>
        <pc:spChg chg="mod">
          <ac:chgData name="katie.freer@la.gov" userId="S::katie.freer_la.gov#ext#@sprintcloud1001092.onmicrosoft.com::4bbf2aad-bf49-45bc-a5ef-553704949c30" providerId="AD" clId="Web-{0F08E93F-2A0B-1492-DD6F-FBA47C0B675B}" dt="2022-12-13T22:23:41.830" v="1047" actId="20577"/>
          <ac:spMkLst>
            <pc:docMk/>
            <pc:sldMk cId="3934733957" sldId="590"/>
            <ac:spMk id="5" creationId="{CC29257F-AA75-7C13-B4C4-BD52DF5F02BD}"/>
          </ac:spMkLst>
        </pc:spChg>
        <pc:spChg chg="mod">
          <ac:chgData name="katie.freer@la.gov" userId="S::katie.freer_la.gov#ext#@sprintcloud1001092.onmicrosoft.com::4bbf2aad-bf49-45bc-a5ef-553704949c30" providerId="AD" clId="Web-{0F08E93F-2A0B-1492-DD6F-FBA47C0B675B}" dt="2022-12-13T22:23:39.361" v="1044" actId="20577"/>
          <ac:spMkLst>
            <pc:docMk/>
            <pc:sldMk cId="3934733957" sldId="590"/>
            <ac:spMk id="7" creationId="{14049432-A5B5-4D51-869A-D1C05FB2DB5E}"/>
          </ac:spMkLst>
        </pc:spChg>
      </pc:sldChg>
      <pc:sldChg chg="modSp">
        <pc:chgData name="katie.freer@la.gov" userId="S::katie.freer_la.gov#ext#@sprintcloud1001092.onmicrosoft.com::4bbf2aad-bf49-45bc-a5ef-553704949c30" providerId="AD" clId="Web-{0F08E93F-2A0B-1492-DD6F-FBA47C0B675B}" dt="2022-12-13T22:41:12.659" v="1357" actId="1076"/>
        <pc:sldMkLst>
          <pc:docMk/>
          <pc:sldMk cId="799666519" sldId="609"/>
        </pc:sldMkLst>
        <pc:spChg chg="mod">
          <ac:chgData name="katie.freer@la.gov" userId="S::katie.freer_la.gov#ext#@sprintcloud1001092.onmicrosoft.com::4bbf2aad-bf49-45bc-a5ef-553704949c30" providerId="AD" clId="Web-{0F08E93F-2A0B-1492-DD6F-FBA47C0B675B}" dt="2022-12-13T22:41:12.659" v="1357" actId="1076"/>
          <ac:spMkLst>
            <pc:docMk/>
            <pc:sldMk cId="799666519" sldId="609"/>
            <ac:spMk id="2" creationId="{644BA338-42BA-C741-9611-FAB4DF648AE4}"/>
          </ac:spMkLst>
        </pc:spChg>
      </pc:sldChg>
      <pc:sldChg chg="modSp addCm modCm modNotes">
        <pc:chgData name="katie.freer@la.gov" userId="S::katie.freer_la.gov#ext#@sprintcloud1001092.onmicrosoft.com::4bbf2aad-bf49-45bc-a5ef-553704949c30" providerId="AD" clId="Web-{0F08E93F-2A0B-1492-DD6F-FBA47C0B675B}" dt="2022-12-13T22:43:24.195" v="1358"/>
        <pc:sldMkLst>
          <pc:docMk/>
          <pc:sldMk cId="1260594065" sldId="615"/>
        </pc:sldMkLst>
        <pc:spChg chg="mod">
          <ac:chgData name="katie.freer@la.gov" userId="S::katie.freer_la.gov#ext#@sprintcloud1001092.onmicrosoft.com::4bbf2aad-bf49-45bc-a5ef-553704949c30" providerId="AD" clId="Web-{0F08E93F-2A0B-1492-DD6F-FBA47C0B675B}" dt="2022-12-13T22:21:46.467" v="1016" actId="20577"/>
          <ac:spMkLst>
            <pc:docMk/>
            <pc:sldMk cId="1260594065" sldId="615"/>
            <ac:spMk id="2" creationId="{F7347354-9C9F-8428-057D-631E0AA4EB16}"/>
          </ac:spMkLst>
        </pc:spChg>
        <pc:spChg chg="mod">
          <ac:chgData name="katie.freer@la.gov" userId="S::katie.freer_la.gov#ext#@sprintcloud1001092.onmicrosoft.com::4bbf2aad-bf49-45bc-a5ef-553704949c30" providerId="AD" clId="Web-{0F08E93F-2A0B-1492-DD6F-FBA47C0B675B}" dt="2022-12-13T22:22:30.906" v="1041" actId="20577"/>
          <ac:spMkLst>
            <pc:docMk/>
            <pc:sldMk cId="1260594065" sldId="615"/>
            <ac:spMk id="6" creationId="{32EBC814-855D-433A-0C64-85F8E701C853}"/>
          </ac:spMkLst>
        </pc:spChg>
        <pc:spChg chg="mod">
          <ac:chgData name="katie.freer@la.gov" userId="S::katie.freer_la.gov#ext#@sprintcloud1001092.onmicrosoft.com::4bbf2aad-bf49-45bc-a5ef-553704949c30" providerId="AD" clId="Web-{0F08E93F-2A0B-1492-DD6F-FBA47C0B675B}" dt="2022-12-13T22:11:52.449" v="859"/>
          <ac:spMkLst>
            <pc:docMk/>
            <pc:sldMk cId="1260594065" sldId="615"/>
            <ac:spMk id="10" creationId="{AFA7DCE7-A058-5172-FABD-182E2FDB5DE0}"/>
          </ac:spMkLst>
        </pc:spChg>
        <pc:picChg chg="mod">
          <ac:chgData name="katie.freer@la.gov" userId="S::katie.freer_la.gov#ext#@sprintcloud1001092.onmicrosoft.com::4bbf2aad-bf49-45bc-a5ef-553704949c30" providerId="AD" clId="Web-{0F08E93F-2A0B-1492-DD6F-FBA47C0B675B}" dt="2022-12-13T22:15:22.690" v="927" actId="1076"/>
          <ac:picMkLst>
            <pc:docMk/>
            <pc:sldMk cId="1260594065" sldId="615"/>
            <ac:picMk id="3" creationId="{D009AF5C-267D-1025-C08D-5671D33B0854}"/>
          </ac:picMkLst>
        </pc:picChg>
      </pc:sldChg>
      <pc:sldChg chg="modSp addCm modCm">
        <pc:chgData name="katie.freer@la.gov" userId="S::katie.freer_la.gov#ext#@sprintcloud1001092.onmicrosoft.com::4bbf2aad-bf49-45bc-a5ef-553704949c30" providerId="AD" clId="Web-{0F08E93F-2A0B-1492-DD6F-FBA47C0B675B}" dt="2022-12-13T22:40:01.626" v="1325" actId="20577"/>
        <pc:sldMkLst>
          <pc:docMk/>
          <pc:sldMk cId="1566969012" sldId="618"/>
        </pc:sldMkLst>
        <pc:spChg chg="mod">
          <ac:chgData name="katie.freer@la.gov" userId="S::katie.freer_la.gov#ext#@sprintcloud1001092.onmicrosoft.com::4bbf2aad-bf49-45bc-a5ef-553704949c30" providerId="AD" clId="Web-{0F08E93F-2A0B-1492-DD6F-FBA47C0B675B}" dt="2022-12-13T22:40:01.626" v="1325" actId="20577"/>
          <ac:spMkLst>
            <pc:docMk/>
            <pc:sldMk cId="1566969012" sldId="618"/>
            <ac:spMk id="3" creationId="{09A1F398-0840-0140-83CE-A611DB97F3EF}"/>
          </ac:spMkLst>
        </pc:spChg>
      </pc:sldChg>
      <pc:sldChg chg="modSp addCm delCm">
        <pc:chgData name="katie.freer@la.gov" userId="S::katie.freer_la.gov#ext#@sprintcloud1001092.onmicrosoft.com::4bbf2aad-bf49-45bc-a5ef-553704949c30" providerId="AD" clId="Web-{0F08E93F-2A0B-1492-DD6F-FBA47C0B675B}" dt="2022-12-13T22:39:20.875" v="1315" actId="14100"/>
        <pc:sldMkLst>
          <pc:docMk/>
          <pc:sldMk cId="2829496633" sldId="620"/>
        </pc:sldMkLst>
        <pc:spChg chg="mod">
          <ac:chgData name="katie.freer@la.gov" userId="S::katie.freer_la.gov#ext#@sprintcloud1001092.onmicrosoft.com::4bbf2aad-bf49-45bc-a5ef-553704949c30" providerId="AD" clId="Web-{0F08E93F-2A0B-1492-DD6F-FBA47C0B675B}" dt="2022-12-13T22:39:20.875" v="1315" actId="14100"/>
          <ac:spMkLst>
            <pc:docMk/>
            <pc:sldMk cId="2829496633" sldId="620"/>
            <ac:spMk id="3" creationId="{09A1F398-0840-0140-83CE-A611DB97F3EF}"/>
          </ac:spMkLst>
        </pc:spChg>
        <pc:graphicFrameChg chg="mod modGraphic">
          <ac:chgData name="katie.freer@la.gov" userId="S::katie.freer_la.gov#ext#@sprintcloud1001092.onmicrosoft.com::4bbf2aad-bf49-45bc-a5ef-553704949c30" providerId="AD" clId="Web-{0F08E93F-2A0B-1492-DD6F-FBA47C0B675B}" dt="2022-12-13T22:39:02.530" v="1314"/>
          <ac:graphicFrameMkLst>
            <pc:docMk/>
            <pc:sldMk cId="2829496633" sldId="620"/>
            <ac:graphicFrameMk id="5" creationId="{45DC8894-4D67-A9B1-5747-4FCA4E023E80}"/>
          </ac:graphicFrameMkLst>
        </pc:graphicFrameChg>
        <pc:picChg chg="mod ord">
          <ac:chgData name="katie.freer@la.gov" userId="S::katie.freer_la.gov#ext#@sprintcloud1001092.onmicrosoft.com::4bbf2aad-bf49-45bc-a5ef-553704949c30" providerId="AD" clId="Web-{0F08E93F-2A0B-1492-DD6F-FBA47C0B675B}" dt="2022-12-13T22:38:15.295" v="1306" actId="1076"/>
          <ac:picMkLst>
            <pc:docMk/>
            <pc:sldMk cId="2829496633" sldId="620"/>
            <ac:picMk id="1025" creationId="{60E8D945-08F2-0C08-E839-DF11A711CECB}"/>
          </ac:picMkLst>
        </pc:picChg>
        <pc:picChg chg="mod">
          <ac:chgData name="katie.freer@la.gov" userId="S::katie.freer_la.gov#ext#@sprintcloud1001092.onmicrosoft.com::4bbf2aad-bf49-45bc-a5ef-553704949c30" providerId="AD" clId="Web-{0F08E93F-2A0B-1492-DD6F-FBA47C0B675B}" dt="2022-12-13T22:37:37.403" v="1301" actId="1076"/>
          <ac:picMkLst>
            <pc:docMk/>
            <pc:sldMk cId="2829496633" sldId="620"/>
            <ac:picMk id="1026" creationId="{A072AB06-5ABC-CDFE-326F-E36D72FE521C}"/>
          </ac:picMkLst>
        </pc:picChg>
        <pc:picChg chg="mod">
          <ac:chgData name="katie.freer@la.gov" userId="S::katie.freer_la.gov#ext#@sprintcloud1001092.onmicrosoft.com::4bbf2aad-bf49-45bc-a5ef-553704949c30" providerId="AD" clId="Web-{0F08E93F-2A0B-1492-DD6F-FBA47C0B675B}" dt="2022-12-13T22:37:37.387" v="1300" actId="1076"/>
          <ac:picMkLst>
            <pc:docMk/>
            <pc:sldMk cId="2829496633" sldId="620"/>
            <ac:picMk id="1027" creationId="{41A85386-F5EB-DC81-D657-F80C110B99E4}"/>
          </ac:picMkLst>
        </pc:picChg>
      </pc:sldChg>
    </pc:docChg>
  </pc:docChgLst>
  <pc:docChgLst>
    <pc:chgData name="Leah Selcer" userId="S::leah.selcer@neel-schaffer.com::ddebd5d7-5623-455e-9bcd-00ca1c79169d" providerId="AD" clId="Web-{066A3EA6-ED10-2303-7BEF-75F8F47EE89B}"/>
    <pc:docChg chg="modSld">
      <pc:chgData name="Leah Selcer" userId="S::leah.selcer@neel-schaffer.com::ddebd5d7-5623-455e-9bcd-00ca1c79169d" providerId="AD" clId="Web-{066A3EA6-ED10-2303-7BEF-75F8F47EE89B}" dt="2022-12-08T15:46:25.649" v="130"/>
      <pc:docMkLst>
        <pc:docMk/>
      </pc:docMkLst>
      <pc:sldChg chg="addSp modSp modCm">
        <pc:chgData name="Leah Selcer" userId="S::leah.selcer@neel-schaffer.com::ddebd5d7-5623-455e-9bcd-00ca1c79169d" providerId="AD" clId="Web-{066A3EA6-ED10-2303-7BEF-75F8F47EE89B}" dt="2022-12-08T15:46:25.649" v="130"/>
        <pc:sldMkLst>
          <pc:docMk/>
          <pc:sldMk cId="3398086154" sldId="627"/>
        </pc:sldMkLst>
        <pc:graphicFrameChg chg="add mod modGraphic">
          <ac:chgData name="Leah Selcer" userId="S::leah.selcer@neel-schaffer.com::ddebd5d7-5623-455e-9bcd-00ca1c79169d" providerId="AD" clId="Web-{066A3EA6-ED10-2303-7BEF-75F8F47EE89B}" dt="2022-12-08T15:44:55.756" v="126" actId="1076"/>
          <ac:graphicFrameMkLst>
            <pc:docMk/>
            <pc:sldMk cId="3398086154" sldId="627"/>
            <ac:graphicFrameMk id="4" creationId="{F7078FB7-A2FD-4BE1-D575-BE7ADF9C8133}"/>
          </ac:graphicFrameMkLst>
        </pc:graphicFrameChg>
        <pc:picChg chg="add mod">
          <ac:chgData name="Leah Selcer" userId="S::leah.selcer@neel-schaffer.com::ddebd5d7-5623-455e-9bcd-00ca1c79169d" providerId="AD" clId="Web-{066A3EA6-ED10-2303-7BEF-75F8F47EE89B}" dt="2022-12-08T15:45:41.929" v="129" actId="1076"/>
          <ac:picMkLst>
            <pc:docMk/>
            <pc:sldMk cId="3398086154" sldId="627"/>
            <ac:picMk id="6" creationId="{06AA9AB7-6A24-675B-BD59-001C0D5BFC35}"/>
          </ac:picMkLst>
        </pc:picChg>
      </pc:sldChg>
    </pc:docChg>
  </pc:docChgLst>
  <pc:docChgLst>
    <pc:chgData name="Glenn Ledet" userId="S::glenn.ledet@neel-schaffer.com::872112e3-5206-4e32-a1d1-17892283609b" providerId="AD" clId="Web-{15BD67A1-9107-224F-5687-FDA9D5FACBC3}"/>
    <pc:docChg chg="modSld">
      <pc:chgData name="Glenn Ledet" userId="S::glenn.ledet@neel-schaffer.com::872112e3-5206-4e32-a1d1-17892283609b" providerId="AD" clId="Web-{15BD67A1-9107-224F-5687-FDA9D5FACBC3}" dt="2022-12-14T16:59:35.653" v="1" actId="20577"/>
      <pc:docMkLst>
        <pc:docMk/>
      </pc:docMkLst>
      <pc:sldChg chg="modSp">
        <pc:chgData name="Glenn Ledet" userId="S::glenn.ledet@neel-schaffer.com::872112e3-5206-4e32-a1d1-17892283609b" providerId="AD" clId="Web-{15BD67A1-9107-224F-5687-FDA9D5FACBC3}" dt="2022-12-14T16:59:35.653" v="1" actId="20577"/>
        <pc:sldMkLst>
          <pc:docMk/>
          <pc:sldMk cId="3398086154" sldId="627"/>
        </pc:sldMkLst>
        <pc:spChg chg="mod">
          <ac:chgData name="Glenn Ledet" userId="S::glenn.ledet@neel-schaffer.com::872112e3-5206-4e32-a1d1-17892283609b" providerId="AD" clId="Web-{15BD67A1-9107-224F-5687-FDA9D5FACBC3}" dt="2022-12-14T16:59:35.653" v="1" actId="20577"/>
          <ac:spMkLst>
            <pc:docMk/>
            <pc:sldMk cId="3398086154" sldId="627"/>
            <ac:spMk id="5" creationId="{A05D48A7-0F52-2C21-8950-0E6D9A9665B3}"/>
          </ac:spMkLst>
        </pc:spChg>
      </pc:sldChg>
    </pc:docChg>
  </pc:docChgLst>
  <pc:docChgLst>
    <pc:chgData name="Glenn Ledet" userId="S::glenn.ledet@neel-schaffer.com::872112e3-5206-4e32-a1d1-17892283609b" providerId="AD" clId="Web-{BD065D7F-7AC7-EE2F-F5D7-A765F8927269}"/>
    <pc:docChg chg="modSld">
      <pc:chgData name="Glenn Ledet" userId="S::glenn.ledet@neel-schaffer.com::872112e3-5206-4e32-a1d1-17892283609b" providerId="AD" clId="Web-{BD065D7F-7AC7-EE2F-F5D7-A765F8927269}" dt="2022-12-12T15:08:11.968" v="73"/>
      <pc:docMkLst>
        <pc:docMk/>
      </pc:docMkLst>
      <pc:sldChg chg="modSp">
        <pc:chgData name="Glenn Ledet" userId="S::glenn.ledet@neel-schaffer.com::872112e3-5206-4e32-a1d1-17892283609b" providerId="AD" clId="Web-{BD065D7F-7AC7-EE2F-F5D7-A765F8927269}" dt="2022-12-12T14:58:48.341" v="0" actId="1076"/>
        <pc:sldMkLst>
          <pc:docMk/>
          <pc:sldMk cId="3934733957" sldId="590"/>
        </pc:sldMkLst>
        <pc:picChg chg="mod">
          <ac:chgData name="Glenn Ledet" userId="S::glenn.ledet@neel-schaffer.com::872112e3-5206-4e32-a1d1-17892283609b" providerId="AD" clId="Web-{BD065D7F-7AC7-EE2F-F5D7-A765F8927269}" dt="2022-12-12T14:58:48.341" v="0" actId="1076"/>
          <ac:picMkLst>
            <pc:docMk/>
            <pc:sldMk cId="3934733957" sldId="590"/>
            <ac:picMk id="3" creationId="{BEE3C15D-3961-3ED4-EC63-0FE372C5C505}"/>
          </ac:picMkLst>
        </pc:picChg>
      </pc:sldChg>
      <pc:sldChg chg="modSp">
        <pc:chgData name="Glenn Ledet" userId="S::glenn.ledet@neel-schaffer.com::872112e3-5206-4e32-a1d1-17892283609b" providerId="AD" clId="Web-{BD065D7F-7AC7-EE2F-F5D7-A765F8927269}" dt="2022-12-12T15:05:38.338" v="67" actId="20577"/>
        <pc:sldMkLst>
          <pc:docMk/>
          <pc:sldMk cId="2895423667" sldId="613"/>
        </pc:sldMkLst>
        <pc:spChg chg="mod">
          <ac:chgData name="Glenn Ledet" userId="S::glenn.ledet@neel-schaffer.com::872112e3-5206-4e32-a1d1-17892283609b" providerId="AD" clId="Web-{BD065D7F-7AC7-EE2F-F5D7-A765F8927269}" dt="2022-12-12T15:05:38.338" v="67" actId="20577"/>
          <ac:spMkLst>
            <pc:docMk/>
            <pc:sldMk cId="2895423667" sldId="613"/>
            <ac:spMk id="12" creationId="{48F37892-5511-499B-8B26-DB9E8D046D48}"/>
          </ac:spMkLst>
        </pc:spChg>
        <pc:picChg chg="mod">
          <ac:chgData name="Glenn Ledet" userId="S::glenn.ledet@neel-schaffer.com::872112e3-5206-4e32-a1d1-17892283609b" providerId="AD" clId="Web-{BD065D7F-7AC7-EE2F-F5D7-A765F8927269}" dt="2022-12-12T15:04:46.149" v="65" actId="1076"/>
          <ac:picMkLst>
            <pc:docMk/>
            <pc:sldMk cId="2895423667" sldId="613"/>
            <ac:picMk id="4" creationId="{C17104BC-4C6A-4AFD-950C-649AB40EEA77}"/>
          </ac:picMkLst>
        </pc:picChg>
        <pc:picChg chg="mod">
          <ac:chgData name="Glenn Ledet" userId="S::glenn.ledet@neel-schaffer.com::872112e3-5206-4e32-a1d1-17892283609b" providerId="AD" clId="Web-{BD065D7F-7AC7-EE2F-F5D7-A765F8927269}" dt="2022-12-12T15:04:45.008" v="64" actId="1076"/>
          <ac:picMkLst>
            <pc:docMk/>
            <pc:sldMk cId="2895423667" sldId="613"/>
            <ac:picMk id="7" creationId="{21AD3BD8-B800-B131-1D29-54E527316147}"/>
          </ac:picMkLst>
        </pc:picChg>
      </pc:sldChg>
      <pc:sldChg chg="delSp modSp">
        <pc:chgData name="Glenn Ledet" userId="S::glenn.ledet@neel-schaffer.com::872112e3-5206-4e32-a1d1-17892283609b" providerId="AD" clId="Web-{BD065D7F-7AC7-EE2F-F5D7-A765F8927269}" dt="2022-12-12T15:01:05.579" v="4" actId="1076"/>
        <pc:sldMkLst>
          <pc:docMk/>
          <pc:sldMk cId="1566969012" sldId="618"/>
        </pc:sldMkLst>
        <pc:picChg chg="mod">
          <ac:chgData name="Glenn Ledet" userId="S::glenn.ledet@neel-schaffer.com::872112e3-5206-4e32-a1d1-17892283609b" providerId="AD" clId="Web-{BD065D7F-7AC7-EE2F-F5D7-A765F8927269}" dt="2022-12-12T15:01:05.579" v="4" actId="1076"/>
          <ac:picMkLst>
            <pc:docMk/>
            <pc:sldMk cId="1566969012" sldId="618"/>
            <ac:picMk id="4" creationId="{8A230212-B689-4E37-B322-D3401BB1513B}"/>
          </ac:picMkLst>
        </pc:picChg>
        <pc:picChg chg="del">
          <ac:chgData name="Glenn Ledet" userId="S::glenn.ledet@neel-schaffer.com::872112e3-5206-4e32-a1d1-17892283609b" providerId="AD" clId="Web-{BD065D7F-7AC7-EE2F-F5D7-A765F8927269}" dt="2022-12-12T15:00:59.798" v="1"/>
          <ac:picMkLst>
            <pc:docMk/>
            <pc:sldMk cId="1566969012" sldId="618"/>
            <ac:picMk id="7" creationId="{F2CA40AF-1A3B-46E6-0B91-931F1B8085CD}"/>
          </ac:picMkLst>
        </pc:picChg>
        <pc:picChg chg="mod">
          <ac:chgData name="Glenn Ledet" userId="S::glenn.ledet@neel-schaffer.com::872112e3-5206-4e32-a1d1-17892283609b" providerId="AD" clId="Web-{BD065D7F-7AC7-EE2F-F5D7-A765F8927269}" dt="2022-12-12T15:01:04.001" v="3" actId="1076"/>
          <ac:picMkLst>
            <pc:docMk/>
            <pc:sldMk cId="1566969012" sldId="618"/>
            <ac:picMk id="1026" creationId="{E59F318D-221B-208E-2F0A-02E336BA8446}"/>
          </ac:picMkLst>
        </pc:picChg>
      </pc:sldChg>
      <pc:sldChg chg="modSp">
        <pc:chgData name="Glenn Ledet" userId="S::glenn.ledet@neel-schaffer.com::872112e3-5206-4e32-a1d1-17892283609b" providerId="AD" clId="Web-{BD065D7F-7AC7-EE2F-F5D7-A765F8927269}" dt="2022-12-12T15:08:11.968" v="73"/>
        <pc:sldMkLst>
          <pc:docMk/>
          <pc:sldMk cId="3831277245" sldId="628"/>
        </pc:sldMkLst>
        <pc:graphicFrameChg chg="mod modGraphic">
          <ac:chgData name="Glenn Ledet" userId="S::glenn.ledet@neel-schaffer.com::872112e3-5206-4e32-a1d1-17892283609b" providerId="AD" clId="Web-{BD065D7F-7AC7-EE2F-F5D7-A765F8927269}" dt="2022-12-12T15:08:11.968" v="73"/>
          <ac:graphicFrameMkLst>
            <pc:docMk/>
            <pc:sldMk cId="3831277245" sldId="628"/>
            <ac:graphicFrameMk id="6" creationId="{A9D02CF4-0298-4D9C-C520-40C406045707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030218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61" tIns="46581" rIns="93161" bIns="46581" rtlCol="0"/>
          <a:lstStyle>
            <a:lvl1pPr algn="l">
              <a:defRPr sz="1200" b="0" i="0">
                <a:latin typeface="Arial Narrow Regular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3161" tIns="46581" rIns="93161" bIns="46581" rtlCol="0"/>
          <a:lstStyle>
            <a:lvl1pPr algn="r">
              <a:defRPr sz="1200" b="0" i="0">
                <a:latin typeface="Arial Narrow Regular" charset="0"/>
              </a:defRPr>
            </a:lvl1pPr>
          </a:lstStyle>
          <a:p>
            <a:fld id="{DCDB2BB0-05A4-1A44-B332-94F944A3E6B0}" type="datetimeFigureOut">
              <a:rPr lang="en-US" smtClean="0"/>
              <a:pPr/>
              <a:t>6/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1944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1" tIns="46581" rIns="93161" bIns="4658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3161" tIns="46581" rIns="93161" bIns="4658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4820"/>
          </a:xfrm>
          <a:prstGeom prst="rect">
            <a:avLst/>
          </a:prstGeom>
        </p:spPr>
        <p:txBody>
          <a:bodyPr vert="horz" lIns="93161" tIns="46581" rIns="93161" bIns="46581" rtlCol="0" anchor="b"/>
          <a:lstStyle>
            <a:lvl1pPr algn="l">
              <a:defRPr sz="1200" b="0" i="0">
                <a:latin typeface="Arial Narrow Regular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8"/>
            <a:ext cx="3037840" cy="464820"/>
          </a:xfrm>
          <a:prstGeom prst="rect">
            <a:avLst/>
          </a:prstGeom>
        </p:spPr>
        <p:txBody>
          <a:bodyPr vert="horz" lIns="93161" tIns="46581" rIns="93161" bIns="46581" rtlCol="0" anchor="b"/>
          <a:lstStyle>
            <a:lvl1pPr algn="r">
              <a:defRPr sz="1200" b="0" i="0">
                <a:latin typeface="Arial Narrow Regular" charset="0"/>
              </a:defRPr>
            </a:lvl1pPr>
          </a:lstStyle>
          <a:p>
            <a:fld id="{01FED8CD-B894-DF48-9FBA-5DC1B70212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68268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b="0" i="0" kern="1200">
        <a:solidFill>
          <a:schemeClr val="tx1"/>
        </a:solidFill>
        <a:latin typeface="Arial Narrow Regular" charset="0"/>
        <a:ea typeface="+mn-ea"/>
        <a:cs typeface="+mn-cs"/>
      </a:defRPr>
    </a:lvl1pPr>
    <a:lvl2pPr marL="457200" algn="l" defTabSz="457200" rtl="0" eaLnBrk="1" latinLnBrk="0" hangingPunct="1">
      <a:defRPr sz="1200" b="0" i="0" kern="1200">
        <a:solidFill>
          <a:schemeClr val="tx1"/>
        </a:solidFill>
        <a:latin typeface="Arial Narrow Regular" charset="0"/>
        <a:ea typeface="+mn-ea"/>
        <a:cs typeface="+mn-cs"/>
      </a:defRPr>
    </a:lvl2pPr>
    <a:lvl3pPr marL="914400" algn="l" defTabSz="457200" rtl="0" eaLnBrk="1" latinLnBrk="0" hangingPunct="1">
      <a:defRPr sz="1200" b="0" i="0" kern="1200">
        <a:solidFill>
          <a:schemeClr val="tx1"/>
        </a:solidFill>
        <a:latin typeface="Arial Narrow Regular" charset="0"/>
        <a:ea typeface="+mn-ea"/>
        <a:cs typeface="+mn-cs"/>
      </a:defRPr>
    </a:lvl3pPr>
    <a:lvl4pPr marL="1371600" algn="l" defTabSz="457200" rtl="0" eaLnBrk="1" latinLnBrk="0" hangingPunct="1">
      <a:defRPr sz="1200" b="0" i="0" kern="1200">
        <a:solidFill>
          <a:schemeClr val="tx1"/>
        </a:solidFill>
        <a:latin typeface="Arial Narrow Regular" charset="0"/>
        <a:ea typeface="+mn-ea"/>
        <a:cs typeface="+mn-cs"/>
      </a:defRPr>
    </a:lvl4pPr>
    <a:lvl5pPr marL="1828800" algn="l" defTabSz="457200" rtl="0" eaLnBrk="1" latinLnBrk="0" hangingPunct="1">
      <a:defRPr sz="1200" b="0" i="0" kern="1200">
        <a:solidFill>
          <a:schemeClr val="tx1"/>
        </a:solidFill>
        <a:latin typeface="Arial Narrow Regular" charset="0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FED8CD-B894-DF48-9FBA-5DC1B702128D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3341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6164"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FED8CD-B894-DF48-9FBA-5DC1B702128D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11411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6164"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FED8CD-B894-DF48-9FBA-5DC1B702128D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2345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FED8CD-B894-DF48-9FBA-5DC1B702128D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6192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FED8CD-B894-DF48-9FBA-5DC1B702128D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588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FED8CD-B894-DF48-9FBA-5DC1B702128D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2511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FED8CD-B894-DF48-9FBA-5DC1B702128D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66947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6164"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FED8CD-B894-DF48-9FBA-5DC1B702128D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09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8.svg"/><Relationship Id="rId4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8.svg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4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microsoft.com/office/2007/relationships/hdphoto" Target="../media/hdphoto1.wdp"/><Relationship Id="rId4" Type="http://schemas.openxmlformats.org/officeDocument/2006/relationships/image" Target="../media/image18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ver 2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7E8372A2-26AD-3D46-87C4-359526846130}"/>
              </a:ext>
            </a:extLst>
          </p:cNvPr>
          <p:cNvSpPr txBox="1">
            <a:spLocks/>
          </p:cNvSpPr>
          <p:nvPr userDrawn="1"/>
        </p:nvSpPr>
        <p:spPr>
          <a:xfrm>
            <a:off x="457200" y="457200"/>
            <a:ext cx="5638800" cy="2286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 cap="all" spc="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 kern="1200" cap="none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System Font Regular"/>
              <a:buChar char="-"/>
              <a:defRPr sz="2000" kern="1200" cap="none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i="0" kern="1200" cap="all" spc="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System Font Regular"/>
              <a:buNone/>
              <a:defRPr sz="5400" b="0" i="0" kern="1200" spc="0" baseline="0">
                <a:solidFill>
                  <a:schemeClr val="accent1"/>
                </a:solidFill>
                <a:latin typeface="Franklin Gothic Medium Cond" panose="020B0606030402020204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4400" b="1" kern="1200" cap="all" spc="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System Font Regular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stem Font Regular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astal Protection and Restoration Authority</a:t>
            </a:r>
          </a:p>
        </p:txBody>
      </p:sp>
      <p:sp>
        <p:nvSpPr>
          <p:cNvPr id="14" name="Text Placeholder 28">
            <a:extLst>
              <a:ext uri="{FF2B5EF4-FFF2-40B4-BE49-F238E27FC236}">
                <a16:creationId xmlns:a16="http://schemas.microsoft.com/office/drawing/2014/main" id="{C9B6F575-08B0-8A40-B7DC-CA309D553C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15401" y="457200"/>
            <a:ext cx="2819400" cy="228599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buNone/>
              <a:defRPr sz="1200" cap="all" spc="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20xx Month xx</a:t>
            </a:r>
          </a:p>
        </p:txBody>
      </p:sp>
      <p:sp>
        <p:nvSpPr>
          <p:cNvPr id="17" name="Text Placeholder 28">
            <a:extLst>
              <a:ext uri="{FF2B5EF4-FFF2-40B4-BE49-F238E27FC236}">
                <a16:creationId xmlns:a16="http://schemas.microsoft.com/office/drawing/2014/main" id="{E4BAA8C2-B733-3A47-8764-79BAF0F278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142999"/>
            <a:ext cx="11277600" cy="4571999"/>
          </a:xfrm>
        </p:spPr>
        <p:txBody>
          <a:bodyPr lIns="0" tIns="0" rIns="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7200" b="0" i="0" cap="none" spc="0" baseline="0">
                <a:solidFill>
                  <a:schemeClr val="bg1"/>
                </a:solidFill>
                <a:latin typeface="Franklin Gothic Medium Cond" panose="020B0606030402020204" pitchFamily="34" charset="0"/>
              </a:defRPr>
            </a:lvl1pPr>
            <a:lvl2pPr marL="0" indent="0" algn="ctr">
              <a:buNone/>
              <a:defRPr sz="2400" cap="all" spc="200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Presentation Title</a:t>
            </a:r>
          </a:p>
          <a:p>
            <a:pPr lvl="1"/>
            <a:r>
              <a:rPr lang="en-US"/>
              <a:t>Sub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877E375-4384-6945-A511-47CD6C1CF0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53700" y="5321300"/>
            <a:ext cx="1181100" cy="1079500"/>
          </a:xfrm>
          <a:prstGeom prst="rect">
            <a:avLst/>
          </a:prstGeom>
        </p:spPr>
      </p:pic>
      <p:sp>
        <p:nvSpPr>
          <p:cNvPr id="11" name="Text Placeholder 28">
            <a:extLst>
              <a:ext uri="{FF2B5EF4-FFF2-40B4-BE49-F238E27FC236}">
                <a16:creationId xmlns:a16="http://schemas.microsoft.com/office/drawing/2014/main" id="{EF21188B-2F2F-F24C-B965-F1818C249C2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6172200"/>
            <a:ext cx="9867900" cy="228600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buNone/>
              <a:defRPr sz="1200" cap="all" spc="2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resenter Name	Presenter Name	Presenter Name	Presenter Name</a:t>
            </a:r>
          </a:p>
        </p:txBody>
      </p:sp>
    </p:spTree>
    <p:extLst>
      <p:ext uri="{BB962C8B-B14F-4D97-AF65-F5344CB8AC3E}">
        <p14:creationId xmlns:p14="http://schemas.microsoft.com/office/powerpoint/2010/main" val="29234394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9209428-B813-C141-8AF2-A0A656A68D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64901" y="1557839"/>
            <a:ext cx="2816352" cy="4074864"/>
          </a:xfrm>
          <a:solidFill>
            <a:schemeClr val="tx1">
              <a:lumMod val="50000"/>
              <a:lumOff val="50000"/>
            </a:schemeClr>
          </a:solidFill>
        </p:spPr>
        <p:txBody>
          <a:bodyPr lIns="182880" tIns="182880" rIns="182880" bIns="18288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178F6E9-A404-464F-8AE9-178AE752DC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02443" y="1557839"/>
            <a:ext cx="2816352" cy="4074864"/>
          </a:xfrm>
          <a:solidFill>
            <a:schemeClr val="tx2"/>
          </a:solidFill>
        </p:spPr>
        <p:txBody>
          <a:bodyPr lIns="182880" tIns="182880" rIns="182880" bIns="18288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201CBB9D-FB9B-FB48-A65E-1351DCE4D1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39985" y="1557839"/>
            <a:ext cx="2816352" cy="4074864"/>
          </a:xfrm>
          <a:solidFill>
            <a:schemeClr val="accent1"/>
          </a:solidFill>
        </p:spPr>
        <p:txBody>
          <a:bodyPr lIns="182880" tIns="182880" rIns="182880" bIns="18288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4EB954B-B429-A44D-9145-F3DEF4F6D9D0}"/>
              </a:ext>
            </a:extLst>
          </p:cNvPr>
          <p:cNvCxnSpPr>
            <a:cxnSpLocks/>
          </p:cNvCxnSpPr>
          <p:nvPr userDrawn="1"/>
        </p:nvCxnSpPr>
        <p:spPr>
          <a:xfrm>
            <a:off x="12624391" y="2620288"/>
            <a:ext cx="0" cy="4992623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8D183D47-0D97-B449-AB87-7A4E24347A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82321" y="5857454"/>
            <a:ext cx="300458" cy="300458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3C302BE8-E1B9-1745-B374-E484A4C5B11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17647" y="5857454"/>
            <a:ext cx="300458" cy="300458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B24412B4-A415-EA42-A079-515C9C6B29B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7403" y="5857454"/>
            <a:ext cx="300458" cy="300458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BDF06E18-4E7D-6843-A5E8-DB533AF59E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11277600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47924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017A4A8-A7BE-2A4B-9AB8-7D604AABE6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00" y="1557839"/>
            <a:ext cx="2651760" cy="4074864"/>
          </a:xfrm>
          <a:solidFill>
            <a:schemeClr val="bg2">
              <a:lumMod val="50000"/>
            </a:schemeClr>
          </a:solidFill>
        </p:spPr>
        <p:txBody>
          <a:bodyPr lIns="182880" tIns="182880" rIns="182880" bIns="18288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E3D807A-D1B5-EC4F-ADFC-6CE06AB063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2480" y="1557839"/>
            <a:ext cx="2651760" cy="4074864"/>
          </a:xfrm>
          <a:solidFill>
            <a:schemeClr val="tx2"/>
          </a:solidFill>
        </p:spPr>
        <p:txBody>
          <a:bodyPr lIns="182880" tIns="182880" rIns="182880" bIns="18288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DC36878-E3B4-F143-B987-DCE119812A4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7760" y="1557839"/>
            <a:ext cx="2651760" cy="4074864"/>
          </a:xfrm>
          <a:solidFill>
            <a:schemeClr val="accent1"/>
          </a:solidFill>
        </p:spPr>
        <p:txBody>
          <a:bodyPr lIns="182880" tIns="182880" rIns="182880" bIns="18288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1E06DDE-5B47-F446-8ECD-75C5BCE6C25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83040" y="1557837"/>
            <a:ext cx="2651760" cy="4074864"/>
          </a:xfrm>
          <a:solidFill>
            <a:schemeClr val="accent2"/>
          </a:solidFill>
        </p:spPr>
        <p:txBody>
          <a:bodyPr lIns="182880" tIns="182880" rIns="182880" bIns="18288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4EB954B-B429-A44D-9145-F3DEF4F6D9D0}"/>
              </a:ext>
            </a:extLst>
          </p:cNvPr>
          <p:cNvCxnSpPr>
            <a:cxnSpLocks/>
          </p:cNvCxnSpPr>
          <p:nvPr userDrawn="1"/>
        </p:nvCxnSpPr>
        <p:spPr>
          <a:xfrm>
            <a:off x="12624391" y="2620288"/>
            <a:ext cx="0" cy="4992623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8D183D47-0D97-B449-AB87-7A4E24347A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08502" y="5861106"/>
            <a:ext cx="300458" cy="300458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3C302BE8-E1B9-1745-B374-E484A4C5B11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83782" y="5861106"/>
            <a:ext cx="300458" cy="300458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B24412B4-A415-EA42-A079-515C9C6B29B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34342" y="5861106"/>
            <a:ext cx="300458" cy="300458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96089EFE-8023-1F44-8B00-7CF19DB15FF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59062" y="5861106"/>
            <a:ext cx="300458" cy="300458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0E05E466-4E30-3646-BBB6-B75EB245D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11277600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54561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017A4A8-A7BE-2A4B-9AB8-7D604AABE6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00" y="1557839"/>
            <a:ext cx="2167128" cy="4074864"/>
          </a:xfrm>
          <a:solidFill>
            <a:schemeClr val="bg2">
              <a:lumMod val="50000"/>
            </a:schemeClr>
          </a:solidFill>
        </p:spPr>
        <p:txBody>
          <a:bodyPr lIns="182880" tIns="182880" rIns="182880" bIns="18288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E3D807A-D1B5-EC4F-ADFC-6CE06AB063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734818" y="1557839"/>
            <a:ext cx="2167128" cy="4074864"/>
          </a:xfrm>
          <a:solidFill>
            <a:schemeClr val="tx2"/>
          </a:solidFill>
        </p:spPr>
        <p:txBody>
          <a:bodyPr lIns="182880" tIns="182880" rIns="182880" bIns="18288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DC36878-E3B4-F143-B987-DCE119812A4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12436" y="1557839"/>
            <a:ext cx="2167128" cy="4074864"/>
          </a:xfrm>
          <a:solidFill>
            <a:schemeClr val="accent1"/>
          </a:solidFill>
        </p:spPr>
        <p:txBody>
          <a:bodyPr lIns="182880" tIns="182880" rIns="182880" bIns="18288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1E06DDE-5B47-F446-8ECD-75C5BCE6C25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290054" y="1557839"/>
            <a:ext cx="2167128" cy="4074864"/>
          </a:xfrm>
          <a:solidFill>
            <a:schemeClr val="accent2"/>
          </a:solidFill>
        </p:spPr>
        <p:txBody>
          <a:bodyPr lIns="182880" tIns="182880" rIns="182880" bIns="18288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4EB954B-B429-A44D-9145-F3DEF4F6D9D0}"/>
              </a:ext>
            </a:extLst>
          </p:cNvPr>
          <p:cNvCxnSpPr>
            <a:cxnSpLocks/>
          </p:cNvCxnSpPr>
          <p:nvPr userDrawn="1"/>
        </p:nvCxnSpPr>
        <p:spPr>
          <a:xfrm>
            <a:off x="12624391" y="2620288"/>
            <a:ext cx="0" cy="4992623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8D183D47-0D97-B449-AB87-7A4E24347A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23870" y="5861106"/>
            <a:ext cx="300458" cy="300458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3C302BE8-E1B9-1745-B374-E484A4C5B11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01488" y="5861106"/>
            <a:ext cx="300458" cy="300458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96089EFE-8023-1F44-8B00-7CF19DB15FF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79106" y="5861106"/>
            <a:ext cx="300458" cy="300458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6EC9C14-573B-CB47-82C1-1532D82066D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567672" y="1557839"/>
            <a:ext cx="2167128" cy="4074864"/>
          </a:xfrm>
          <a:solidFill>
            <a:schemeClr val="accent3"/>
          </a:solidFill>
        </p:spPr>
        <p:txBody>
          <a:bodyPr lIns="182880" tIns="182880" rIns="182880" bIns="18288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C55CBACA-139B-E141-BE73-C3ED5099787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156724" y="5861106"/>
            <a:ext cx="300458" cy="300458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D94A09C2-6D6E-1440-8949-97E39C67F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11277600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73992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26DAD12-6926-4B40-A549-481769A50EB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14399" y="3543300"/>
            <a:ext cx="3300984" cy="2400298"/>
          </a:xfrm>
          <a:solidFill>
            <a:schemeClr val="bg2"/>
          </a:solidFill>
        </p:spPr>
        <p:txBody>
          <a:bodyPr lIns="182880" tIns="182880" rIns="182880" bIns="18288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C7F8F97-8FBB-F141-BF1D-46D5297DD32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445496" y="3543300"/>
            <a:ext cx="3300984" cy="2400298"/>
          </a:xfrm>
          <a:solidFill>
            <a:schemeClr val="bg2"/>
          </a:solidFill>
        </p:spPr>
        <p:txBody>
          <a:bodyPr lIns="182880" tIns="182880" rIns="182880" bIns="18288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45C2F19-6157-214E-B7D5-20168388C53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976593" y="3543300"/>
            <a:ext cx="3300984" cy="2400298"/>
          </a:xfrm>
          <a:solidFill>
            <a:schemeClr val="accent1"/>
          </a:solidFill>
        </p:spPr>
        <p:txBody>
          <a:bodyPr lIns="182880" tIns="182880" rIns="182880" bIns="18288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700AEBF-E41C-2A43-8D8F-F8FD5D227B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45496" y="914399"/>
            <a:ext cx="3300984" cy="2400298"/>
          </a:xfrm>
          <a:solidFill>
            <a:schemeClr val="bg2"/>
          </a:solidFill>
        </p:spPr>
        <p:txBody>
          <a:bodyPr lIns="182880" tIns="182880" rIns="182880" bIns="18288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870E4DB-9A2E-EE48-B7F9-2E973B5CB8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76593" y="914399"/>
            <a:ext cx="3300984" cy="2400298"/>
          </a:xfrm>
          <a:solidFill>
            <a:schemeClr val="bg2"/>
          </a:solidFill>
        </p:spPr>
        <p:txBody>
          <a:bodyPr lIns="182880" tIns="182880" rIns="182880" bIns="18288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4EB954B-B429-A44D-9145-F3DEF4F6D9D0}"/>
              </a:ext>
            </a:extLst>
          </p:cNvPr>
          <p:cNvCxnSpPr>
            <a:cxnSpLocks/>
          </p:cNvCxnSpPr>
          <p:nvPr userDrawn="1"/>
        </p:nvCxnSpPr>
        <p:spPr>
          <a:xfrm>
            <a:off x="12624391" y="2620288"/>
            <a:ext cx="0" cy="4992623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E507B9D8-85E1-D54D-B7A1-A07A7297A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199"/>
            <a:ext cx="3758183" cy="2857497"/>
          </a:xfrm>
        </p:spPr>
        <p:txBody>
          <a:bodyPr/>
          <a:lstStyle/>
          <a:p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47112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9A2F309-8D1B-9249-8222-1400AC2D59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9985" y="2071829"/>
            <a:ext cx="2816352" cy="1677671"/>
          </a:xfrm>
          <a:noFill/>
        </p:spPr>
        <p:txBody>
          <a:bodyPr lIns="182880" tIns="182880" rIns="182880" bIns="182880">
            <a:normAutofit/>
          </a:bodyPr>
          <a:lstStyle>
            <a:lvl1pPr algn="ctr"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 algn="ctr">
              <a:defRPr>
                <a:solidFill>
                  <a:schemeClr val="accent2"/>
                </a:solidFill>
              </a:defRPr>
            </a:lvl4pPr>
            <a:lvl5pPr algn="ctr">
              <a:defRPr>
                <a:solidFill>
                  <a:schemeClr val="accent2"/>
                </a:solidFill>
              </a:defRPr>
            </a:lvl5pPr>
          </a:lstStyle>
          <a:p>
            <a:pPr lvl="4"/>
            <a:r>
              <a:rPr lang="en-US"/>
              <a:t>XXX</a:t>
            </a:r>
          </a:p>
          <a:p>
            <a:pPr lvl="3"/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7D7A07F-3E67-1B42-8FC5-E4C3973F99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64901" y="4225356"/>
            <a:ext cx="2816352" cy="1677671"/>
          </a:xfrm>
          <a:noFill/>
        </p:spPr>
        <p:txBody>
          <a:bodyPr lIns="182880" tIns="182880" rIns="182880" bIns="182880">
            <a:normAutofit/>
          </a:bodyPr>
          <a:lstStyle>
            <a:lvl1pPr algn="ctr"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 algn="ctr">
              <a:defRPr>
                <a:solidFill>
                  <a:schemeClr val="accent2"/>
                </a:solidFill>
              </a:defRPr>
            </a:lvl4pPr>
            <a:lvl5pPr algn="ctr">
              <a:defRPr>
                <a:solidFill>
                  <a:schemeClr val="accent2"/>
                </a:solidFill>
              </a:defRPr>
            </a:lvl5pPr>
          </a:lstStyle>
          <a:p>
            <a:pPr lvl="4"/>
            <a:r>
              <a:rPr lang="en-US"/>
              <a:t>XXX</a:t>
            </a:r>
          </a:p>
          <a:p>
            <a:pPr lvl="3"/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CBAE32F-5288-DE43-A704-FFD5139B29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02443" y="4225356"/>
            <a:ext cx="2816352" cy="1677671"/>
          </a:xfrm>
          <a:noFill/>
        </p:spPr>
        <p:txBody>
          <a:bodyPr lIns="182880" tIns="182880" rIns="182880" bIns="182880">
            <a:normAutofit/>
          </a:bodyPr>
          <a:lstStyle>
            <a:lvl1pPr algn="ctr"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 algn="ctr">
              <a:defRPr>
                <a:solidFill>
                  <a:schemeClr val="accent2"/>
                </a:solidFill>
              </a:defRPr>
            </a:lvl4pPr>
            <a:lvl5pPr algn="ctr">
              <a:defRPr>
                <a:solidFill>
                  <a:schemeClr val="accent2"/>
                </a:solidFill>
              </a:defRPr>
            </a:lvl5pPr>
          </a:lstStyle>
          <a:p>
            <a:pPr lvl="4"/>
            <a:r>
              <a:rPr lang="en-US"/>
              <a:t>XXX</a:t>
            </a:r>
          </a:p>
          <a:p>
            <a:pPr lvl="3"/>
            <a:r>
              <a:rPr lang="en-US"/>
              <a:t>Subtitle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725136E0-F4C7-7043-9309-A87534B35B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9985" y="4225356"/>
            <a:ext cx="2816352" cy="1677671"/>
          </a:xfrm>
          <a:noFill/>
        </p:spPr>
        <p:txBody>
          <a:bodyPr lIns="182880" tIns="182880" rIns="182880" bIns="182880">
            <a:normAutofit/>
          </a:bodyPr>
          <a:lstStyle>
            <a:lvl1pPr algn="ctr"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 algn="ctr">
              <a:defRPr>
                <a:solidFill>
                  <a:schemeClr val="accent2"/>
                </a:solidFill>
              </a:defRPr>
            </a:lvl4pPr>
            <a:lvl5pPr algn="ctr">
              <a:defRPr>
                <a:solidFill>
                  <a:schemeClr val="accent2"/>
                </a:solidFill>
              </a:defRPr>
            </a:lvl5pPr>
          </a:lstStyle>
          <a:p>
            <a:pPr lvl="4"/>
            <a:r>
              <a:rPr lang="en-US"/>
              <a:t>XXX</a:t>
            </a:r>
          </a:p>
          <a:p>
            <a:pPr lvl="3"/>
            <a:r>
              <a:rPr lang="en-US"/>
              <a:t>Subtitl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C2E82D08-3ED4-8C4C-8ED2-1C82363C507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164901" y="2071829"/>
            <a:ext cx="2816352" cy="1677671"/>
          </a:xfrm>
          <a:noFill/>
        </p:spPr>
        <p:txBody>
          <a:bodyPr lIns="182880" tIns="182880" rIns="182880" bIns="182880">
            <a:normAutofit/>
          </a:bodyPr>
          <a:lstStyle>
            <a:lvl1pPr algn="ctr"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 algn="ctr">
              <a:defRPr>
                <a:solidFill>
                  <a:schemeClr val="accent2"/>
                </a:solidFill>
              </a:defRPr>
            </a:lvl4pPr>
            <a:lvl5pPr algn="ctr">
              <a:defRPr>
                <a:solidFill>
                  <a:schemeClr val="accent2"/>
                </a:solidFill>
              </a:defRPr>
            </a:lvl5pPr>
          </a:lstStyle>
          <a:p>
            <a:pPr lvl="4"/>
            <a:r>
              <a:rPr lang="en-US"/>
              <a:t>XXX</a:t>
            </a:r>
          </a:p>
          <a:p>
            <a:pPr lvl="3"/>
            <a:r>
              <a:rPr lang="en-US"/>
              <a:t>Sub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8972CD0-E049-1446-8D10-D077479613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02443" y="2071829"/>
            <a:ext cx="2816352" cy="1677671"/>
          </a:xfrm>
          <a:noFill/>
        </p:spPr>
        <p:txBody>
          <a:bodyPr lIns="182880" tIns="182880" rIns="182880" bIns="182880">
            <a:normAutofit/>
          </a:bodyPr>
          <a:lstStyle>
            <a:lvl1pPr algn="ctr"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 algn="ctr">
              <a:defRPr>
                <a:solidFill>
                  <a:schemeClr val="accent2"/>
                </a:solidFill>
              </a:defRPr>
            </a:lvl4pPr>
            <a:lvl5pPr algn="ctr">
              <a:defRPr>
                <a:solidFill>
                  <a:schemeClr val="accent2"/>
                </a:solidFill>
              </a:defRPr>
            </a:lvl5pPr>
          </a:lstStyle>
          <a:p>
            <a:pPr lvl="4"/>
            <a:r>
              <a:rPr lang="en-US"/>
              <a:t>XXX</a:t>
            </a:r>
          </a:p>
          <a:p>
            <a:pPr lvl="3"/>
            <a:r>
              <a:rPr lang="en-US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6A4E2D6-6DA5-0142-ACF5-44A81D28CC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11277600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28299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16A3C5-0C4C-7F41-BD2C-D02BFCF1B0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72475" y="3407229"/>
            <a:ext cx="1709928" cy="2612570"/>
          </a:xfrm>
        </p:spPr>
        <p:txBody>
          <a:bodyPr lIns="91440" rIns="9144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7FFCC6A-C18B-A141-BF9C-A6F78E85D5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27421" y="2253342"/>
            <a:ext cx="1709928" cy="3766457"/>
          </a:xfrm>
        </p:spPr>
        <p:txBody>
          <a:bodyPr lIns="91440" rIns="91440">
            <a:normAutofit/>
          </a:bodyPr>
          <a:lstStyle/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8CDB91C-2C06-EB4B-845A-86DE8363C1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73935" y="3407228"/>
            <a:ext cx="1709928" cy="2612571"/>
          </a:xfrm>
        </p:spPr>
        <p:txBody>
          <a:bodyPr lIns="91440" rIns="91440">
            <a:normAutofit/>
          </a:bodyPr>
          <a:lstStyle/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759140B-4817-1141-951A-734E2E7A1A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35287" y="2253342"/>
            <a:ext cx="1709928" cy="3766457"/>
          </a:xfrm>
        </p:spPr>
        <p:txBody>
          <a:bodyPr lIns="91440" rIns="91440">
            <a:normAutofit/>
          </a:bodyPr>
          <a:lstStyle/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5681F9E-ACF6-A649-8B89-B597C865FF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698349" y="3407228"/>
            <a:ext cx="1709928" cy="2612571"/>
          </a:xfrm>
        </p:spPr>
        <p:txBody>
          <a:bodyPr lIns="91440" rIns="91440">
            <a:normAutofit/>
          </a:bodyPr>
          <a:lstStyle/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BEEEDF2-CBF0-1F48-A5C3-62E5C4B36A75}"/>
              </a:ext>
            </a:extLst>
          </p:cNvPr>
          <p:cNvCxnSpPr>
            <a:cxnSpLocks/>
          </p:cNvCxnSpPr>
          <p:nvPr userDrawn="1"/>
        </p:nvCxnSpPr>
        <p:spPr>
          <a:xfrm>
            <a:off x="3406398" y="2253343"/>
            <a:ext cx="0" cy="376645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0B6D9C2-CBF8-CA4D-8F0B-8ECBB0DF59A4}"/>
              </a:ext>
            </a:extLst>
          </p:cNvPr>
          <p:cNvCxnSpPr>
            <a:cxnSpLocks/>
          </p:cNvCxnSpPr>
          <p:nvPr userDrawn="1"/>
        </p:nvCxnSpPr>
        <p:spPr>
          <a:xfrm>
            <a:off x="5452912" y="3407228"/>
            <a:ext cx="0" cy="2612572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2A29064-6019-C745-9B60-04FD92DB9198}"/>
              </a:ext>
            </a:extLst>
          </p:cNvPr>
          <p:cNvCxnSpPr>
            <a:cxnSpLocks/>
          </p:cNvCxnSpPr>
          <p:nvPr userDrawn="1"/>
        </p:nvCxnSpPr>
        <p:spPr>
          <a:xfrm>
            <a:off x="7514264" y="2253343"/>
            <a:ext cx="0" cy="376645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584954B-1952-F746-8661-2B90D6A354A0}"/>
              </a:ext>
            </a:extLst>
          </p:cNvPr>
          <p:cNvCxnSpPr>
            <a:cxnSpLocks/>
          </p:cNvCxnSpPr>
          <p:nvPr userDrawn="1"/>
        </p:nvCxnSpPr>
        <p:spPr>
          <a:xfrm>
            <a:off x="1351455" y="3407228"/>
            <a:ext cx="0" cy="2612572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4E28B89-69FC-104A-A18E-A4337DAB0E36}"/>
              </a:ext>
            </a:extLst>
          </p:cNvPr>
          <p:cNvCxnSpPr>
            <a:cxnSpLocks/>
          </p:cNvCxnSpPr>
          <p:nvPr userDrawn="1"/>
        </p:nvCxnSpPr>
        <p:spPr>
          <a:xfrm>
            <a:off x="9577326" y="3407228"/>
            <a:ext cx="0" cy="2612572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98D4C44-7A61-D64E-8A57-633263E7111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51455" y="1519029"/>
            <a:ext cx="1837944" cy="1888199"/>
          </a:xfrm>
        </p:spPr>
        <p:txBody>
          <a:bodyPr lIns="0" rIns="0" bIns="228600" anchor="b" anchorCtr="0"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59A0448-DB5F-C24A-9B43-AD17EA1715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06398" y="1519028"/>
            <a:ext cx="1837944" cy="734313"/>
          </a:xfrm>
        </p:spPr>
        <p:txBody>
          <a:bodyPr lIns="0" rIns="0" bIns="228600" anchor="b" anchorCtr="0"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54B4AA-1025-5741-921B-DB01C970E6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52912" y="1519029"/>
            <a:ext cx="1837944" cy="1888199"/>
          </a:xfrm>
        </p:spPr>
        <p:txBody>
          <a:bodyPr lIns="0" rIns="0" bIns="228600" anchor="b" anchorCtr="0"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EB17093-DBCA-2E49-9DDE-5D6763F09E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14264" y="1519028"/>
            <a:ext cx="1837944" cy="734314"/>
          </a:xfrm>
        </p:spPr>
        <p:txBody>
          <a:bodyPr lIns="0" rIns="0" bIns="228600" anchor="b" anchorCtr="0"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863C5C03-B79D-9344-9467-D33AF7BCCB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77326" y="1519029"/>
            <a:ext cx="1837944" cy="1888199"/>
          </a:xfrm>
        </p:spPr>
        <p:txBody>
          <a:bodyPr lIns="0" rIns="0" bIns="228600" anchor="b" anchorCtr="0"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3BBEE3A9-14DA-E442-A766-9F6FB263F7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11277600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08224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in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FE6CB746-1DFB-4E06-9747-15AC7A330E5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200" y="1576172"/>
            <a:ext cx="2651760" cy="2133019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3C87B226-FB09-4A65-8099-8300B588C9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332479" y="1576172"/>
            <a:ext cx="2651760" cy="2133022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2DB8703F-F124-4DFE-A671-6E977F38432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07760" y="1576170"/>
            <a:ext cx="2651760" cy="2133023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92671105-6192-46DB-B120-D59094B55A0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83040" y="1576170"/>
            <a:ext cx="2651760" cy="2133024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7AD5475-856B-3F4F-91AC-25F2CC8327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00" y="3709193"/>
            <a:ext cx="2651760" cy="2310607"/>
          </a:xfrm>
          <a:noFill/>
        </p:spPr>
        <p:txBody>
          <a:bodyPr lIns="182880" tIns="182880" rIns="182880" bIns="18288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5BCBCA4-317B-A848-95DD-483AC3C595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32480" y="3709193"/>
            <a:ext cx="2651760" cy="2310607"/>
          </a:xfrm>
          <a:noFill/>
        </p:spPr>
        <p:txBody>
          <a:bodyPr lIns="182880" tIns="182880" rIns="182880" bIns="18288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B56476D-2A23-3446-BAC2-2F2BDC12AD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7760" y="3709192"/>
            <a:ext cx="2651760" cy="2310607"/>
          </a:xfrm>
          <a:noFill/>
        </p:spPr>
        <p:txBody>
          <a:bodyPr lIns="182880" tIns="182880" rIns="182880" bIns="18288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E9CD2CA-1D62-1744-B0BB-45977F51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83040" y="3709192"/>
            <a:ext cx="2651760" cy="2310607"/>
          </a:xfrm>
          <a:noFill/>
        </p:spPr>
        <p:txBody>
          <a:bodyPr lIns="182880" tIns="182880" rIns="182880" bIns="18288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4BBDA63-6704-2C48-A629-D1301E2305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11277600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912573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in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FE6CB746-1DFB-4E06-9747-15AC7A330E5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164901" y="1595972"/>
            <a:ext cx="2816352" cy="2134779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3C87B226-FB09-4A65-8099-8300B588C9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702443" y="1595972"/>
            <a:ext cx="2816352" cy="2134779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2DB8703F-F124-4DFE-A671-6E977F38432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39985" y="1595972"/>
            <a:ext cx="2816352" cy="2134779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3AFCCA2-50AE-A24C-8EE2-A3ADFB19FE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64901" y="3730753"/>
            <a:ext cx="2816352" cy="2289048"/>
          </a:xfrm>
          <a:noFill/>
        </p:spPr>
        <p:txBody>
          <a:bodyPr lIns="182880" tIns="182880" rIns="182880" bIns="18288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DFB645A-A151-4945-849A-0FB145E3A5B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02443" y="3730753"/>
            <a:ext cx="2816352" cy="2289048"/>
          </a:xfrm>
          <a:noFill/>
        </p:spPr>
        <p:txBody>
          <a:bodyPr lIns="182880" tIns="182880" rIns="182880" bIns="18288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F6F6B5E-12B6-C641-94A8-6C2A26E2211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39985" y="3730752"/>
            <a:ext cx="2816352" cy="2289048"/>
          </a:xfrm>
          <a:noFill/>
        </p:spPr>
        <p:txBody>
          <a:bodyPr lIns="182880" tIns="182880" rIns="182880" bIns="18288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8871D5E-1D6E-A549-8026-5381F4E9E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11277600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88466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ain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FE6CB746-1DFB-4E06-9747-15AC7A330E5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200" y="1595972"/>
            <a:ext cx="3602736" cy="2518825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3C87B226-FB09-4A65-8099-8300B588C9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294632" y="1595972"/>
            <a:ext cx="3602736" cy="2518825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2DB8703F-F124-4DFE-A671-6E977F38432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32064" y="1595972"/>
            <a:ext cx="3602736" cy="2518825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841F628-0C1D-0D4F-BB3A-44629C1305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00" y="4114797"/>
            <a:ext cx="3602736" cy="1905003"/>
          </a:xfrm>
          <a:noFill/>
        </p:spPr>
        <p:txBody>
          <a:bodyPr lIns="182880" tIns="182880" rIns="182880" bIns="18288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7CA0117-CAF9-E443-B99A-2C42C9B187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94632" y="4114797"/>
            <a:ext cx="3602736" cy="1905003"/>
          </a:xfrm>
          <a:noFill/>
        </p:spPr>
        <p:txBody>
          <a:bodyPr lIns="182880" tIns="182880" rIns="182880" bIns="18288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D66D861-C59C-1E4F-A2DD-40D167E40A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32064" y="4114796"/>
            <a:ext cx="3602736" cy="1905003"/>
          </a:xfrm>
          <a:noFill/>
        </p:spPr>
        <p:txBody>
          <a:bodyPr lIns="182880" tIns="182880" rIns="182880" bIns="18288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6B59EF5-B3B7-414E-AC79-1CA4B0BC5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11277600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64579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Picture Placeholder 10">
            <a:extLst>
              <a:ext uri="{FF2B5EF4-FFF2-40B4-BE49-F238E27FC236}">
                <a16:creationId xmlns:a16="http://schemas.microsoft.com/office/drawing/2014/main" id="{E39BAA0A-1D15-4442-8A84-8D3AC145956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200" y="1575970"/>
            <a:ext cx="2167128" cy="2167128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47" name="Picture Placeholder 10">
            <a:extLst>
              <a:ext uri="{FF2B5EF4-FFF2-40B4-BE49-F238E27FC236}">
                <a16:creationId xmlns:a16="http://schemas.microsoft.com/office/drawing/2014/main" id="{F50CF109-F6D8-A94B-BA11-4AB589AF744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734818" y="1575970"/>
            <a:ext cx="2167128" cy="2167128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48" name="Picture Placeholder 10">
            <a:extLst>
              <a:ext uri="{FF2B5EF4-FFF2-40B4-BE49-F238E27FC236}">
                <a16:creationId xmlns:a16="http://schemas.microsoft.com/office/drawing/2014/main" id="{D9B98B59-925E-904C-8AF6-41FF8D4D58B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012436" y="1575970"/>
            <a:ext cx="2167128" cy="2167128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49" name="Picture Placeholder 10">
            <a:extLst>
              <a:ext uri="{FF2B5EF4-FFF2-40B4-BE49-F238E27FC236}">
                <a16:creationId xmlns:a16="http://schemas.microsoft.com/office/drawing/2014/main" id="{E1A58935-4C13-BB40-8D59-78EA0AB8D2F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90054" y="1575970"/>
            <a:ext cx="2167128" cy="2167128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50" name="Picture Placeholder 10">
            <a:extLst>
              <a:ext uri="{FF2B5EF4-FFF2-40B4-BE49-F238E27FC236}">
                <a16:creationId xmlns:a16="http://schemas.microsoft.com/office/drawing/2014/main" id="{6289CEF7-8715-1343-9811-0CDD24B117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567672" y="1575970"/>
            <a:ext cx="2167128" cy="2167128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51" name="Picture Placeholder 10">
            <a:extLst>
              <a:ext uri="{FF2B5EF4-FFF2-40B4-BE49-F238E27FC236}">
                <a16:creationId xmlns:a16="http://schemas.microsoft.com/office/drawing/2014/main" id="{CA5B165A-8302-5249-95AA-A4939F495A5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" y="3833616"/>
            <a:ext cx="2167128" cy="2167128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52" name="Picture Placeholder 10">
            <a:extLst>
              <a:ext uri="{FF2B5EF4-FFF2-40B4-BE49-F238E27FC236}">
                <a16:creationId xmlns:a16="http://schemas.microsoft.com/office/drawing/2014/main" id="{2AA73410-D4BD-184A-BC01-1A60CC1FCB0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734818" y="3833616"/>
            <a:ext cx="2167128" cy="2167128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53" name="Picture Placeholder 10">
            <a:extLst>
              <a:ext uri="{FF2B5EF4-FFF2-40B4-BE49-F238E27FC236}">
                <a16:creationId xmlns:a16="http://schemas.microsoft.com/office/drawing/2014/main" id="{DC09D38E-7862-E745-BA46-3343974A2A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012436" y="3833616"/>
            <a:ext cx="2167128" cy="2167128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54" name="Picture Placeholder 10">
            <a:extLst>
              <a:ext uri="{FF2B5EF4-FFF2-40B4-BE49-F238E27FC236}">
                <a16:creationId xmlns:a16="http://schemas.microsoft.com/office/drawing/2014/main" id="{633D1073-889C-1747-BCC0-64863231AB8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290054" y="3833616"/>
            <a:ext cx="2167128" cy="2167128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55" name="Picture Placeholder 10">
            <a:extLst>
              <a:ext uri="{FF2B5EF4-FFF2-40B4-BE49-F238E27FC236}">
                <a16:creationId xmlns:a16="http://schemas.microsoft.com/office/drawing/2014/main" id="{C1F76A3A-43B4-9545-B6AB-1607A5CF8C1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567672" y="3833616"/>
            <a:ext cx="2167128" cy="2167128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1202AF0-1812-6940-AF56-2125409BF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11277600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65678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hapter 1.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1">
            <a:extLst>
              <a:ext uri="{FF2B5EF4-FFF2-40B4-BE49-F238E27FC236}">
                <a16:creationId xmlns:a16="http://schemas.microsoft.com/office/drawing/2014/main" id="{E0CC4B99-251F-7A47-94F8-3263C0FBB32A}"/>
              </a:ext>
            </a:extLst>
          </p:cNvPr>
          <p:cNvSpPr txBox="1">
            <a:spLocks/>
          </p:cNvSpPr>
          <p:nvPr userDrawn="1"/>
        </p:nvSpPr>
        <p:spPr>
          <a:xfrm>
            <a:off x="457200" y="457200"/>
            <a:ext cx="5778230" cy="830997"/>
          </a:xfrm>
          <a:prstGeom prst="rect">
            <a:avLst/>
          </a:prstGeom>
          <a:noFill/>
        </p:spPr>
        <p:txBody>
          <a:bodyPr vert="horz" wrap="square" lIns="0" tIns="0" rIns="0" bIns="45720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200" b="0" i="0" kern="1200" cap="all" spc="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 cap="all" spc="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cap="none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System Font Regular"/>
              <a:buChar char="-"/>
              <a:defRPr sz="20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System Font Regular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stem Font Regular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/>
              <a:t>Calcasieu-Sabine Large Scale Marsh and Hydrologic Restoration (CS-0087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FF502AC-9352-5943-85FC-6842366816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82" b="1682"/>
          <a:stretch/>
        </p:blipFill>
        <p:spPr>
          <a:xfrm>
            <a:off x="463550" y="1103530"/>
            <a:ext cx="11264900" cy="5297267"/>
          </a:xfrm>
          <a:prstGeom prst="rect">
            <a:avLst/>
          </a:prstGeom>
        </p:spPr>
      </p:pic>
      <p:sp>
        <p:nvSpPr>
          <p:cNvPr id="7" name="Text Placeholder 28">
            <a:extLst>
              <a:ext uri="{FF2B5EF4-FFF2-40B4-BE49-F238E27FC236}">
                <a16:creationId xmlns:a16="http://schemas.microsoft.com/office/drawing/2014/main" id="{E1D1FEBB-B304-5543-84DF-4F8FC81845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866900" y="457202"/>
            <a:ext cx="10325100" cy="5486397"/>
          </a:xfrm>
        </p:spPr>
        <p:txBody>
          <a:bodyPr lIns="0" tIns="0" rIns="0" bIns="0" anchor="t" anchorCtr="0">
            <a:normAutofit/>
          </a:bodyPr>
          <a:lstStyle>
            <a:lvl1pPr marL="0" indent="0" algn="r">
              <a:lnSpc>
                <a:spcPts val="9600"/>
              </a:lnSpc>
              <a:spcAft>
                <a:spcPts val="0"/>
              </a:spcAft>
              <a:buNone/>
              <a:defRPr sz="9600" b="0" i="0" cap="none" spc="0" baseline="0">
                <a:solidFill>
                  <a:schemeClr val="accent1"/>
                </a:solidFill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318000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1.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62176CC-8E62-7548-AD47-9BAC45ECB832}"/>
              </a:ext>
            </a:extLst>
          </p:cNvPr>
          <p:cNvSpPr/>
          <p:nvPr userDrawn="1"/>
        </p:nvSpPr>
        <p:spPr>
          <a:xfrm>
            <a:off x="0" y="228600"/>
            <a:ext cx="1866900" cy="640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EA1A9CAD-C0B9-FD45-B641-49FF60C7940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914400" y="914400"/>
            <a:ext cx="4724400" cy="50292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24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endParaRPr lang="fr-FR"/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09B6C71-E9AB-604A-9367-6817E3773B5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556246" y="1557838"/>
            <a:ext cx="4721354" cy="4385761"/>
          </a:xfrm>
        </p:spPr>
        <p:txBody>
          <a:bodyPr anchor="ctr" anchorCtr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D0A84D-0FFA-544B-B209-469E7190A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265176"/>
            <a:ext cx="5181600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7450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in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FE6CB746-1DFB-4E06-9747-15AC7A330E5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5638801" cy="6857999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24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A80B8413-F637-F74B-922B-C221E3FCBD1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556246" y="1557838"/>
            <a:ext cx="4721354" cy="4385761"/>
          </a:xfrm>
        </p:spPr>
        <p:txBody>
          <a:bodyPr anchor="ctr" anchorCtr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1E66940-3209-6649-B6DF-C231194D6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2" y="265176"/>
            <a:ext cx="5181598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2601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ain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FE6CB746-1DFB-4E06-9747-15AC7A330E5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550152" y="1"/>
            <a:ext cx="5638801" cy="6857999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24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2E73C82B-50AF-6247-8EDD-49C096632AA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914400" y="1557838"/>
            <a:ext cx="4721354" cy="4385761"/>
          </a:xfrm>
        </p:spPr>
        <p:txBody>
          <a:bodyPr anchor="ctr" anchorCtr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979C12A-26C7-1248-9285-77621EAB5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5178554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20210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in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FE6CB746-1DFB-4E06-9747-15AC7A330E5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200" y="457200"/>
            <a:ext cx="8650111" cy="55626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24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endParaRPr lang="fr-FR"/>
          </a:p>
          <a:p>
            <a:endParaRPr lang="fr-FR"/>
          </a:p>
          <a:p>
            <a:r>
              <a:rPr lang="fr-FR"/>
              <a:t>PICTURE</a:t>
            </a:r>
          </a:p>
        </p:txBody>
      </p:sp>
      <p:sp>
        <p:nvSpPr>
          <p:cNvPr id="6" name="Text Placeholder 28">
            <a:extLst>
              <a:ext uri="{FF2B5EF4-FFF2-40B4-BE49-F238E27FC236}">
                <a16:creationId xmlns:a16="http://schemas.microsoft.com/office/drawing/2014/main" id="{DD774841-65E7-364B-80D9-BB66CDCAD43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50108" y="1905508"/>
            <a:ext cx="3081529" cy="3046988"/>
          </a:xfrm>
          <a:solidFill>
            <a:schemeClr val="accent1"/>
          </a:solidFill>
        </p:spPr>
        <p:txBody>
          <a:bodyPr lIns="274320" tIns="274320" rIns="274320" bIns="27432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cap="none" spc="50" baseline="0">
                <a:solidFill>
                  <a:schemeClr val="bg1"/>
                </a:solidFill>
              </a:defRPr>
            </a:lvl1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amet, consectetur adipiscing elit, sed do eiusmod tempor incididunt ut labore et dolore magna aliqua. Lorem ipsum dolor sit amet, consectetur adipiscing elit, sed do</a:t>
            </a:r>
          </a:p>
        </p:txBody>
      </p:sp>
    </p:spTree>
    <p:extLst>
      <p:ext uri="{BB962C8B-B14F-4D97-AF65-F5344CB8AC3E}">
        <p14:creationId xmlns:p14="http://schemas.microsoft.com/office/powerpoint/2010/main" val="23226416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ain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99CBB099-EFB7-7E42-A77E-D18ACD563F2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914400" y="1557838"/>
            <a:ext cx="3044952" cy="4385760"/>
          </a:xfrm>
        </p:spPr>
        <p:txBody>
          <a:bodyPr anchor="ctr" anchorCtr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515BBD8-5DBA-504E-A0B9-6A2B243F8327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873625" y="457200"/>
            <a:ext cx="6861175" cy="5943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32F7EA4-C300-B647-AFBF-5E20E5319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3502152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84642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DF6B124-B2BF-FA46-A23D-B87EB25472D9}"/>
              </a:ext>
            </a:extLst>
          </p:cNvPr>
          <p:cNvSpPr/>
          <p:nvPr userDrawn="1"/>
        </p:nvSpPr>
        <p:spPr>
          <a:xfrm>
            <a:off x="6096000" y="0"/>
            <a:ext cx="609195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B805A18-D656-5942-8AF0-52455E76739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015471" y="914401"/>
            <a:ext cx="4261104" cy="13005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4"/>
            <a:r>
              <a:rPr lang="en-US"/>
              <a:t>Heading</a:t>
            </a:r>
          </a:p>
          <a:p>
            <a:pPr lvl="3"/>
            <a:r>
              <a:rPr lang="en-US"/>
              <a:t>Second level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7C229D9E-840D-6949-8568-859708391F5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4400" y="914401"/>
            <a:ext cx="4261104" cy="1300596"/>
          </a:xfrm>
        </p:spPr>
        <p:txBody>
          <a:bodyPr/>
          <a:lstStyle/>
          <a:p>
            <a:pPr lvl="4"/>
            <a:r>
              <a:rPr lang="en-US"/>
              <a:t>Heading</a:t>
            </a:r>
          </a:p>
          <a:p>
            <a:pPr lvl="3"/>
            <a:r>
              <a:rPr lang="en-US"/>
              <a:t>Second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CA3722C-604C-0540-A445-6A8E4B7CF2FE}"/>
              </a:ext>
            </a:extLst>
          </p:cNvPr>
          <p:cNvCxnSpPr>
            <a:cxnSpLocks/>
          </p:cNvCxnSpPr>
          <p:nvPr userDrawn="1"/>
        </p:nvCxnSpPr>
        <p:spPr>
          <a:xfrm>
            <a:off x="12624391" y="2349353"/>
            <a:ext cx="0" cy="4992623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7B97C42-3B75-614F-8863-0243B5BF98A7}"/>
              </a:ext>
            </a:extLst>
          </p:cNvPr>
          <p:cNvGrpSpPr/>
          <p:nvPr userDrawn="1"/>
        </p:nvGrpSpPr>
        <p:grpSpPr>
          <a:xfrm>
            <a:off x="914387" y="2692397"/>
            <a:ext cx="2556578" cy="0"/>
            <a:chOff x="1767688" y="3588133"/>
            <a:chExt cx="2556578" cy="0"/>
          </a:xfrm>
        </p:grpSpPr>
        <p:cxnSp>
          <p:nvCxnSpPr>
            <p:cNvPr id="7" name="Connecteur droit 11">
              <a:extLst>
                <a:ext uri="{FF2B5EF4-FFF2-40B4-BE49-F238E27FC236}">
                  <a16:creationId xmlns:a16="http://schemas.microsoft.com/office/drawing/2014/main" id="{C6BB96F8-A933-774A-943B-E43E8389CADB}"/>
                </a:ext>
              </a:extLst>
            </p:cNvPr>
            <p:cNvCxnSpPr/>
            <p:nvPr userDrawn="1"/>
          </p:nvCxnSpPr>
          <p:spPr>
            <a:xfrm>
              <a:off x="1767688" y="3588133"/>
              <a:ext cx="2556578" cy="0"/>
            </a:xfrm>
            <a:prstGeom prst="line">
              <a:avLst/>
            </a:prstGeom>
            <a:ln w="50800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12">
              <a:extLst>
                <a:ext uri="{FF2B5EF4-FFF2-40B4-BE49-F238E27FC236}">
                  <a16:creationId xmlns:a16="http://schemas.microsoft.com/office/drawing/2014/main" id="{0E8B262C-6FCC-C945-B299-B8BD186E00F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767688" y="3588133"/>
              <a:ext cx="624083" cy="0"/>
            </a:xfrm>
            <a:prstGeom prst="line">
              <a:avLst/>
            </a:prstGeom>
            <a:ln w="508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F1BE2B3-3FD3-2C48-9CFF-74BB5061BE71}"/>
              </a:ext>
            </a:extLst>
          </p:cNvPr>
          <p:cNvGrpSpPr/>
          <p:nvPr userDrawn="1"/>
        </p:nvGrpSpPr>
        <p:grpSpPr>
          <a:xfrm>
            <a:off x="7014458" y="2692397"/>
            <a:ext cx="2556578" cy="0"/>
            <a:chOff x="7863688" y="3588133"/>
            <a:chExt cx="2556578" cy="0"/>
          </a:xfrm>
        </p:grpSpPr>
        <p:cxnSp>
          <p:nvCxnSpPr>
            <p:cNvPr id="9" name="Connecteur droit 13">
              <a:extLst>
                <a:ext uri="{FF2B5EF4-FFF2-40B4-BE49-F238E27FC236}">
                  <a16:creationId xmlns:a16="http://schemas.microsoft.com/office/drawing/2014/main" id="{90B97C0C-9196-DE44-916B-2CF3B8122411}"/>
                </a:ext>
              </a:extLst>
            </p:cNvPr>
            <p:cNvCxnSpPr/>
            <p:nvPr userDrawn="1"/>
          </p:nvCxnSpPr>
          <p:spPr>
            <a:xfrm>
              <a:off x="7863688" y="3588133"/>
              <a:ext cx="2556578" cy="0"/>
            </a:xfrm>
            <a:prstGeom prst="line">
              <a:avLst/>
            </a:prstGeom>
            <a:ln w="508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14">
              <a:extLst>
                <a:ext uri="{FF2B5EF4-FFF2-40B4-BE49-F238E27FC236}">
                  <a16:creationId xmlns:a16="http://schemas.microsoft.com/office/drawing/2014/main" id="{1B882327-548E-8942-A963-9905A00DD38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63688" y="3588133"/>
              <a:ext cx="1943836" cy="0"/>
            </a:xfrm>
            <a:prstGeom prst="line">
              <a:avLst/>
            </a:prstGeom>
            <a:ln w="508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59145CA-2E09-D344-8EE4-F018873D0A8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4399" y="3169797"/>
            <a:ext cx="4263155" cy="24944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9A5CCE73-92FE-1141-9A1C-47468775DC17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010400" y="3169797"/>
            <a:ext cx="4263155" cy="249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42978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8 logo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Picture Placeholder 10">
            <a:extLst>
              <a:ext uri="{FF2B5EF4-FFF2-40B4-BE49-F238E27FC236}">
                <a16:creationId xmlns:a16="http://schemas.microsoft.com/office/drawing/2014/main" id="{45D02115-2C6E-A547-A0C8-BD712AEC49BB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5800044" y="457202"/>
            <a:ext cx="1828800" cy="18288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 </a:t>
            </a:r>
          </a:p>
        </p:txBody>
      </p:sp>
      <p:sp>
        <p:nvSpPr>
          <p:cNvPr id="78" name="Picture Placeholder 10">
            <a:extLst>
              <a:ext uri="{FF2B5EF4-FFF2-40B4-BE49-F238E27FC236}">
                <a16:creationId xmlns:a16="http://schemas.microsoft.com/office/drawing/2014/main" id="{E1D3AE6D-D145-FE4D-965E-344B95E94DF6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7853022" y="457202"/>
            <a:ext cx="1828800" cy="18288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 </a:t>
            </a:r>
          </a:p>
        </p:txBody>
      </p:sp>
      <p:sp>
        <p:nvSpPr>
          <p:cNvPr id="79" name="Picture Placeholder 10">
            <a:extLst>
              <a:ext uri="{FF2B5EF4-FFF2-40B4-BE49-F238E27FC236}">
                <a16:creationId xmlns:a16="http://schemas.microsoft.com/office/drawing/2014/main" id="{965B90A6-7801-6845-A6F3-5A588291BCAD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9906000" y="457200"/>
            <a:ext cx="1828800" cy="18288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 </a:t>
            </a:r>
          </a:p>
        </p:txBody>
      </p:sp>
      <p:sp>
        <p:nvSpPr>
          <p:cNvPr id="80" name="Picture Placeholder 10">
            <a:extLst>
              <a:ext uri="{FF2B5EF4-FFF2-40B4-BE49-F238E27FC236}">
                <a16:creationId xmlns:a16="http://schemas.microsoft.com/office/drawing/2014/main" id="{EBB7E429-2543-424C-A084-A784195F7A8B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5800044" y="2513581"/>
            <a:ext cx="1828800" cy="18288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 </a:t>
            </a:r>
          </a:p>
        </p:txBody>
      </p:sp>
      <p:sp>
        <p:nvSpPr>
          <p:cNvPr id="81" name="Picture Placeholder 10">
            <a:extLst>
              <a:ext uri="{FF2B5EF4-FFF2-40B4-BE49-F238E27FC236}">
                <a16:creationId xmlns:a16="http://schemas.microsoft.com/office/drawing/2014/main" id="{A3C83168-12C6-7C45-AB36-442EA4326998}"/>
              </a:ext>
            </a:extLst>
          </p:cNvPr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7853022" y="2515622"/>
            <a:ext cx="1828800" cy="18288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 b="1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 </a:t>
            </a:r>
          </a:p>
        </p:txBody>
      </p:sp>
      <p:sp>
        <p:nvSpPr>
          <p:cNvPr id="82" name="Picture Placeholder 10">
            <a:extLst>
              <a:ext uri="{FF2B5EF4-FFF2-40B4-BE49-F238E27FC236}">
                <a16:creationId xmlns:a16="http://schemas.microsoft.com/office/drawing/2014/main" id="{1466F961-987B-EB44-9D76-42FE8B3C629B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9906000" y="2514602"/>
            <a:ext cx="1828800" cy="18288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 </a:t>
            </a:r>
          </a:p>
        </p:txBody>
      </p:sp>
      <p:sp>
        <p:nvSpPr>
          <p:cNvPr id="83" name="Picture Placeholder 10">
            <a:extLst>
              <a:ext uri="{FF2B5EF4-FFF2-40B4-BE49-F238E27FC236}">
                <a16:creationId xmlns:a16="http://schemas.microsoft.com/office/drawing/2014/main" id="{A4C58B07-7A94-2E40-9786-36934E7FA9C5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5800044" y="4572001"/>
            <a:ext cx="1828800" cy="18288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 </a:t>
            </a:r>
          </a:p>
        </p:txBody>
      </p:sp>
      <p:sp>
        <p:nvSpPr>
          <p:cNvPr id="84" name="Picture Placeholder 10">
            <a:extLst>
              <a:ext uri="{FF2B5EF4-FFF2-40B4-BE49-F238E27FC236}">
                <a16:creationId xmlns:a16="http://schemas.microsoft.com/office/drawing/2014/main" id="{7CA483D8-D153-3F42-9129-25530C42F688}"/>
              </a:ext>
            </a:extLst>
          </p:cNvPr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7853022" y="4572001"/>
            <a:ext cx="1828800" cy="18288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 </a:t>
            </a:r>
          </a:p>
        </p:txBody>
      </p:sp>
      <p:sp>
        <p:nvSpPr>
          <p:cNvPr id="85" name="Picture Placeholder 10">
            <a:extLst>
              <a:ext uri="{FF2B5EF4-FFF2-40B4-BE49-F238E27FC236}">
                <a16:creationId xmlns:a16="http://schemas.microsoft.com/office/drawing/2014/main" id="{BA663788-F54D-2147-9D4A-CC1425824D9C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9906000" y="4572001"/>
            <a:ext cx="1828800" cy="18288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r>
              <a:rPr lang="fr-FR"/>
              <a:t>	</a:t>
            </a:r>
          </a:p>
          <a:p>
            <a:endParaRPr lang="fr-FR"/>
          </a:p>
          <a:p>
            <a:r>
              <a:rPr lang="fr-FR"/>
              <a:t>PICTURE 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C021269-260F-4040-AC89-ACEC24E263A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57200" y="1557838"/>
            <a:ext cx="4881668" cy="4461962"/>
          </a:xfrm>
        </p:spPr>
        <p:txBody>
          <a:bodyPr anchor="ctr" anchorCtr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119D887-C118-3B4A-9D95-509630998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4881668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26266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34EE00F-52B3-5E44-BF59-2D3180C01AA2}"/>
              </a:ext>
            </a:extLst>
          </p:cNvPr>
          <p:cNvSpPr/>
          <p:nvPr userDrawn="1"/>
        </p:nvSpPr>
        <p:spPr>
          <a:xfrm>
            <a:off x="0" y="0"/>
            <a:ext cx="373075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AC65B9F-6BF1-2D49-B803-D763EDDF2A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3111" y="525780"/>
            <a:ext cx="2955281" cy="5881116"/>
          </a:xfrm>
          <a:prstGeom prst="rect">
            <a:avLst/>
          </a:prstGeom>
          <a:effectLst>
            <a:outerShdw blurRad="444500" dist="127000" dir="5400000" algn="t" rotWithShape="0">
              <a:prstClr val="black">
                <a:alpha val="30000"/>
              </a:prstClr>
            </a:outerShdw>
          </a:effectLst>
        </p:spPr>
      </p:pic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1908C951-434A-4DD1-AFA3-1AF87D704742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2547147" y="896184"/>
            <a:ext cx="2366010" cy="5138856"/>
          </a:xfrm>
          <a:custGeom>
            <a:avLst/>
            <a:gdLst>
              <a:gd name="connsiteX0" fmla="*/ 0 w 2366010"/>
              <a:gd name="connsiteY0" fmla="*/ 244787 h 5124450"/>
              <a:gd name="connsiteX1" fmla="*/ 244787 w 2366010"/>
              <a:gd name="connsiteY1" fmla="*/ 0 h 5124450"/>
              <a:gd name="connsiteX2" fmla="*/ 2121223 w 2366010"/>
              <a:gd name="connsiteY2" fmla="*/ 0 h 5124450"/>
              <a:gd name="connsiteX3" fmla="*/ 2366010 w 2366010"/>
              <a:gd name="connsiteY3" fmla="*/ 244787 h 5124450"/>
              <a:gd name="connsiteX4" fmla="*/ 2366010 w 2366010"/>
              <a:gd name="connsiteY4" fmla="*/ 4879663 h 5124450"/>
              <a:gd name="connsiteX5" fmla="*/ 2121223 w 2366010"/>
              <a:gd name="connsiteY5" fmla="*/ 5124450 h 5124450"/>
              <a:gd name="connsiteX6" fmla="*/ 244787 w 2366010"/>
              <a:gd name="connsiteY6" fmla="*/ 5124450 h 5124450"/>
              <a:gd name="connsiteX7" fmla="*/ 0 w 2366010"/>
              <a:gd name="connsiteY7" fmla="*/ 4879663 h 5124450"/>
              <a:gd name="connsiteX8" fmla="*/ 0 w 2366010"/>
              <a:gd name="connsiteY8" fmla="*/ 244787 h 5124450"/>
              <a:gd name="connsiteX0" fmla="*/ 0 w 2366010"/>
              <a:gd name="connsiteY0" fmla="*/ 244793 h 5124456"/>
              <a:gd name="connsiteX1" fmla="*/ 244787 w 2366010"/>
              <a:gd name="connsiteY1" fmla="*/ 6 h 5124456"/>
              <a:gd name="connsiteX2" fmla="*/ 659130 w 2366010"/>
              <a:gd name="connsiteY2" fmla="*/ 186696 h 5124456"/>
              <a:gd name="connsiteX3" fmla="*/ 2121223 w 2366010"/>
              <a:gd name="connsiteY3" fmla="*/ 6 h 5124456"/>
              <a:gd name="connsiteX4" fmla="*/ 2366010 w 2366010"/>
              <a:gd name="connsiteY4" fmla="*/ 244793 h 5124456"/>
              <a:gd name="connsiteX5" fmla="*/ 2366010 w 2366010"/>
              <a:gd name="connsiteY5" fmla="*/ 4879669 h 5124456"/>
              <a:gd name="connsiteX6" fmla="*/ 2121223 w 2366010"/>
              <a:gd name="connsiteY6" fmla="*/ 5124456 h 5124456"/>
              <a:gd name="connsiteX7" fmla="*/ 244787 w 2366010"/>
              <a:gd name="connsiteY7" fmla="*/ 5124456 h 5124456"/>
              <a:gd name="connsiteX8" fmla="*/ 0 w 2366010"/>
              <a:gd name="connsiteY8" fmla="*/ 4879669 h 5124456"/>
              <a:gd name="connsiteX9" fmla="*/ 0 w 2366010"/>
              <a:gd name="connsiteY9" fmla="*/ 244793 h 5124456"/>
              <a:gd name="connsiteX0" fmla="*/ 0 w 2366010"/>
              <a:gd name="connsiteY0" fmla="*/ 244794 h 5124457"/>
              <a:gd name="connsiteX1" fmla="*/ 244787 w 2366010"/>
              <a:gd name="connsiteY1" fmla="*/ 7 h 5124457"/>
              <a:gd name="connsiteX2" fmla="*/ 659130 w 2366010"/>
              <a:gd name="connsiteY2" fmla="*/ 186697 h 5124457"/>
              <a:gd name="connsiteX3" fmla="*/ 2121223 w 2366010"/>
              <a:gd name="connsiteY3" fmla="*/ 7 h 5124457"/>
              <a:gd name="connsiteX4" fmla="*/ 2366010 w 2366010"/>
              <a:gd name="connsiteY4" fmla="*/ 244794 h 5124457"/>
              <a:gd name="connsiteX5" fmla="*/ 2366010 w 2366010"/>
              <a:gd name="connsiteY5" fmla="*/ 4879670 h 5124457"/>
              <a:gd name="connsiteX6" fmla="*/ 2121223 w 2366010"/>
              <a:gd name="connsiteY6" fmla="*/ 5124457 h 5124457"/>
              <a:gd name="connsiteX7" fmla="*/ 244787 w 2366010"/>
              <a:gd name="connsiteY7" fmla="*/ 5124457 h 5124457"/>
              <a:gd name="connsiteX8" fmla="*/ 0 w 2366010"/>
              <a:gd name="connsiteY8" fmla="*/ 4879670 h 5124457"/>
              <a:gd name="connsiteX9" fmla="*/ 0 w 2366010"/>
              <a:gd name="connsiteY9" fmla="*/ 244794 h 5124457"/>
              <a:gd name="connsiteX0" fmla="*/ 0 w 2366010"/>
              <a:gd name="connsiteY0" fmla="*/ 253683 h 5133346"/>
              <a:gd name="connsiteX1" fmla="*/ 244787 w 2366010"/>
              <a:gd name="connsiteY1" fmla="*/ 8896 h 5133346"/>
              <a:gd name="connsiteX2" fmla="*/ 502920 w 2366010"/>
              <a:gd name="connsiteY2" fmla="*/ 50807 h 5133346"/>
              <a:gd name="connsiteX3" fmla="*/ 659130 w 2366010"/>
              <a:gd name="connsiteY3" fmla="*/ 195586 h 5133346"/>
              <a:gd name="connsiteX4" fmla="*/ 2121223 w 2366010"/>
              <a:gd name="connsiteY4" fmla="*/ 8896 h 5133346"/>
              <a:gd name="connsiteX5" fmla="*/ 2366010 w 2366010"/>
              <a:gd name="connsiteY5" fmla="*/ 253683 h 5133346"/>
              <a:gd name="connsiteX6" fmla="*/ 2366010 w 2366010"/>
              <a:gd name="connsiteY6" fmla="*/ 4888559 h 5133346"/>
              <a:gd name="connsiteX7" fmla="*/ 2121223 w 2366010"/>
              <a:gd name="connsiteY7" fmla="*/ 5133346 h 5133346"/>
              <a:gd name="connsiteX8" fmla="*/ 244787 w 2366010"/>
              <a:gd name="connsiteY8" fmla="*/ 5133346 h 5133346"/>
              <a:gd name="connsiteX9" fmla="*/ 0 w 2366010"/>
              <a:gd name="connsiteY9" fmla="*/ 4888559 h 5133346"/>
              <a:gd name="connsiteX10" fmla="*/ 0 w 2366010"/>
              <a:gd name="connsiteY10" fmla="*/ 253683 h 5133346"/>
              <a:gd name="connsiteX0" fmla="*/ 0 w 2366010"/>
              <a:gd name="connsiteY0" fmla="*/ 253683 h 5133346"/>
              <a:gd name="connsiteX1" fmla="*/ 244787 w 2366010"/>
              <a:gd name="connsiteY1" fmla="*/ 8896 h 5133346"/>
              <a:gd name="connsiteX2" fmla="*/ 502920 w 2366010"/>
              <a:gd name="connsiteY2" fmla="*/ 50807 h 5133346"/>
              <a:gd name="connsiteX3" fmla="*/ 659130 w 2366010"/>
              <a:gd name="connsiteY3" fmla="*/ 195586 h 5133346"/>
              <a:gd name="connsiteX4" fmla="*/ 2121223 w 2366010"/>
              <a:gd name="connsiteY4" fmla="*/ 8896 h 5133346"/>
              <a:gd name="connsiteX5" fmla="*/ 2366010 w 2366010"/>
              <a:gd name="connsiteY5" fmla="*/ 253683 h 5133346"/>
              <a:gd name="connsiteX6" fmla="*/ 2366010 w 2366010"/>
              <a:gd name="connsiteY6" fmla="*/ 4888559 h 5133346"/>
              <a:gd name="connsiteX7" fmla="*/ 2121223 w 2366010"/>
              <a:gd name="connsiteY7" fmla="*/ 5133346 h 5133346"/>
              <a:gd name="connsiteX8" fmla="*/ 244787 w 2366010"/>
              <a:gd name="connsiteY8" fmla="*/ 5133346 h 5133346"/>
              <a:gd name="connsiteX9" fmla="*/ 0 w 2366010"/>
              <a:gd name="connsiteY9" fmla="*/ 4888559 h 5133346"/>
              <a:gd name="connsiteX10" fmla="*/ 0 w 2366010"/>
              <a:gd name="connsiteY10" fmla="*/ 253683 h 5133346"/>
              <a:gd name="connsiteX0" fmla="*/ 0 w 2366010"/>
              <a:gd name="connsiteY0" fmla="*/ 253683 h 5133346"/>
              <a:gd name="connsiteX1" fmla="*/ 244787 w 2366010"/>
              <a:gd name="connsiteY1" fmla="*/ 8896 h 5133346"/>
              <a:gd name="connsiteX2" fmla="*/ 502920 w 2366010"/>
              <a:gd name="connsiteY2" fmla="*/ 50807 h 5133346"/>
              <a:gd name="connsiteX3" fmla="*/ 735330 w 2366010"/>
              <a:gd name="connsiteY3" fmla="*/ 195586 h 5133346"/>
              <a:gd name="connsiteX4" fmla="*/ 2121223 w 2366010"/>
              <a:gd name="connsiteY4" fmla="*/ 8896 h 5133346"/>
              <a:gd name="connsiteX5" fmla="*/ 2366010 w 2366010"/>
              <a:gd name="connsiteY5" fmla="*/ 253683 h 5133346"/>
              <a:gd name="connsiteX6" fmla="*/ 2366010 w 2366010"/>
              <a:gd name="connsiteY6" fmla="*/ 4888559 h 5133346"/>
              <a:gd name="connsiteX7" fmla="*/ 2121223 w 2366010"/>
              <a:gd name="connsiteY7" fmla="*/ 5133346 h 5133346"/>
              <a:gd name="connsiteX8" fmla="*/ 244787 w 2366010"/>
              <a:gd name="connsiteY8" fmla="*/ 5133346 h 5133346"/>
              <a:gd name="connsiteX9" fmla="*/ 0 w 2366010"/>
              <a:gd name="connsiteY9" fmla="*/ 4888559 h 5133346"/>
              <a:gd name="connsiteX10" fmla="*/ 0 w 2366010"/>
              <a:gd name="connsiteY10" fmla="*/ 253683 h 5133346"/>
              <a:gd name="connsiteX0" fmla="*/ 0 w 2366010"/>
              <a:gd name="connsiteY0" fmla="*/ 259704 h 5139367"/>
              <a:gd name="connsiteX1" fmla="*/ 244787 w 2366010"/>
              <a:gd name="connsiteY1" fmla="*/ 14917 h 5139367"/>
              <a:gd name="connsiteX2" fmla="*/ 499110 w 2366010"/>
              <a:gd name="connsiteY2" fmla="*/ 30158 h 5139367"/>
              <a:gd name="connsiteX3" fmla="*/ 735330 w 2366010"/>
              <a:gd name="connsiteY3" fmla="*/ 201607 h 5139367"/>
              <a:gd name="connsiteX4" fmla="*/ 2121223 w 2366010"/>
              <a:gd name="connsiteY4" fmla="*/ 14917 h 5139367"/>
              <a:gd name="connsiteX5" fmla="*/ 2366010 w 2366010"/>
              <a:gd name="connsiteY5" fmla="*/ 259704 h 5139367"/>
              <a:gd name="connsiteX6" fmla="*/ 2366010 w 2366010"/>
              <a:gd name="connsiteY6" fmla="*/ 4894580 h 5139367"/>
              <a:gd name="connsiteX7" fmla="*/ 2121223 w 2366010"/>
              <a:gd name="connsiteY7" fmla="*/ 5139367 h 5139367"/>
              <a:gd name="connsiteX8" fmla="*/ 244787 w 2366010"/>
              <a:gd name="connsiteY8" fmla="*/ 5139367 h 5139367"/>
              <a:gd name="connsiteX9" fmla="*/ 0 w 2366010"/>
              <a:gd name="connsiteY9" fmla="*/ 4894580 h 5139367"/>
              <a:gd name="connsiteX10" fmla="*/ 0 w 2366010"/>
              <a:gd name="connsiteY10" fmla="*/ 259704 h 5139367"/>
              <a:gd name="connsiteX0" fmla="*/ 0 w 2366010"/>
              <a:gd name="connsiteY0" fmla="*/ 255334 h 5134997"/>
              <a:gd name="connsiteX1" fmla="*/ 244787 w 2366010"/>
              <a:gd name="connsiteY1" fmla="*/ 10547 h 5134997"/>
              <a:gd name="connsiteX2" fmla="*/ 499110 w 2366010"/>
              <a:gd name="connsiteY2" fmla="*/ 25788 h 5134997"/>
              <a:gd name="connsiteX3" fmla="*/ 735330 w 2366010"/>
              <a:gd name="connsiteY3" fmla="*/ 197237 h 5134997"/>
              <a:gd name="connsiteX4" fmla="*/ 2121223 w 2366010"/>
              <a:gd name="connsiteY4" fmla="*/ 10547 h 5134997"/>
              <a:gd name="connsiteX5" fmla="*/ 2366010 w 2366010"/>
              <a:gd name="connsiteY5" fmla="*/ 255334 h 5134997"/>
              <a:gd name="connsiteX6" fmla="*/ 2366010 w 2366010"/>
              <a:gd name="connsiteY6" fmla="*/ 4890210 h 5134997"/>
              <a:gd name="connsiteX7" fmla="*/ 2121223 w 2366010"/>
              <a:gd name="connsiteY7" fmla="*/ 5134997 h 5134997"/>
              <a:gd name="connsiteX8" fmla="*/ 244787 w 2366010"/>
              <a:gd name="connsiteY8" fmla="*/ 5134997 h 5134997"/>
              <a:gd name="connsiteX9" fmla="*/ 0 w 2366010"/>
              <a:gd name="connsiteY9" fmla="*/ 4890210 h 5134997"/>
              <a:gd name="connsiteX10" fmla="*/ 0 w 2366010"/>
              <a:gd name="connsiteY10" fmla="*/ 255334 h 5134997"/>
              <a:gd name="connsiteX0" fmla="*/ 0 w 2366010"/>
              <a:gd name="connsiteY0" fmla="*/ 255334 h 5134997"/>
              <a:gd name="connsiteX1" fmla="*/ 244787 w 2366010"/>
              <a:gd name="connsiteY1" fmla="*/ 10547 h 5134997"/>
              <a:gd name="connsiteX2" fmla="*/ 499110 w 2366010"/>
              <a:gd name="connsiteY2" fmla="*/ 25788 h 5134997"/>
              <a:gd name="connsiteX3" fmla="*/ 731520 w 2366010"/>
              <a:gd name="connsiteY3" fmla="*/ 193427 h 5134997"/>
              <a:gd name="connsiteX4" fmla="*/ 2121223 w 2366010"/>
              <a:gd name="connsiteY4" fmla="*/ 10547 h 5134997"/>
              <a:gd name="connsiteX5" fmla="*/ 2366010 w 2366010"/>
              <a:gd name="connsiteY5" fmla="*/ 255334 h 5134997"/>
              <a:gd name="connsiteX6" fmla="*/ 2366010 w 2366010"/>
              <a:gd name="connsiteY6" fmla="*/ 4890210 h 5134997"/>
              <a:gd name="connsiteX7" fmla="*/ 2121223 w 2366010"/>
              <a:gd name="connsiteY7" fmla="*/ 5134997 h 5134997"/>
              <a:gd name="connsiteX8" fmla="*/ 244787 w 2366010"/>
              <a:gd name="connsiteY8" fmla="*/ 5134997 h 5134997"/>
              <a:gd name="connsiteX9" fmla="*/ 0 w 2366010"/>
              <a:gd name="connsiteY9" fmla="*/ 4890210 h 5134997"/>
              <a:gd name="connsiteX10" fmla="*/ 0 w 2366010"/>
              <a:gd name="connsiteY10" fmla="*/ 255334 h 5134997"/>
              <a:gd name="connsiteX0" fmla="*/ 0 w 2366010"/>
              <a:gd name="connsiteY0" fmla="*/ 258273 h 5137936"/>
              <a:gd name="connsiteX1" fmla="*/ 244787 w 2366010"/>
              <a:gd name="connsiteY1" fmla="*/ 13486 h 5137936"/>
              <a:gd name="connsiteX2" fmla="*/ 510540 w 2366010"/>
              <a:gd name="connsiteY2" fmla="*/ 17297 h 5137936"/>
              <a:gd name="connsiteX3" fmla="*/ 731520 w 2366010"/>
              <a:gd name="connsiteY3" fmla="*/ 196366 h 5137936"/>
              <a:gd name="connsiteX4" fmla="*/ 2121223 w 2366010"/>
              <a:gd name="connsiteY4" fmla="*/ 13486 h 5137936"/>
              <a:gd name="connsiteX5" fmla="*/ 2366010 w 2366010"/>
              <a:gd name="connsiteY5" fmla="*/ 258273 h 5137936"/>
              <a:gd name="connsiteX6" fmla="*/ 2366010 w 2366010"/>
              <a:gd name="connsiteY6" fmla="*/ 4893149 h 5137936"/>
              <a:gd name="connsiteX7" fmla="*/ 2121223 w 2366010"/>
              <a:gd name="connsiteY7" fmla="*/ 5137936 h 5137936"/>
              <a:gd name="connsiteX8" fmla="*/ 244787 w 2366010"/>
              <a:gd name="connsiteY8" fmla="*/ 5137936 h 5137936"/>
              <a:gd name="connsiteX9" fmla="*/ 0 w 2366010"/>
              <a:gd name="connsiteY9" fmla="*/ 4893149 h 5137936"/>
              <a:gd name="connsiteX10" fmla="*/ 0 w 2366010"/>
              <a:gd name="connsiteY10" fmla="*/ 258273 h 5137936"/>
              <a:gd name="connsiteX0" fmla="*/ 0 w 2366010"/>
              <a:gd name="connsiteY0" fmla="*/ 258273 h 5137936"/>
              <a:gd name="connsiteX1" fmla="*/ 244787 w 2366010"/>
              <a:gd name="connsiteY1" fmla="*/ 13486 h 5137936"/>
              <a:gd name="connsiteX2" fmla="*/ 510540 w 2366010"/>
              <a:gd name="connsiteY2" fmla="*/ 17297 h 5137936"/>
              <a:gd name="connsiteX3" fmla="*/ 731520 w 2366010"/>
              <a:gd name="connsiteY3" fmla="*/ 196366 h 5137936"/>
              <a:gd name="connsiteX4" fmla="*/ 2121223 w 2366010"/>
              <a:gd name="connsiteY4" fmla="*/ 13486 h 5137936"/>
              <a:gd name="connsiteX5" fmla="*/ 2366010 w 2366010"/>
              <a:gd name="connsiteY5" fmla="*/ 258273 h 5137936"/>
              <a:gd name="connsiteX6" fmla="*/ 2366010 w 2366010"/>
              <a:gd name="connsiteY6" fmla="*/ 4893149 h 5137936"/>
              <a:gd name="connsiteX7" fmla="*/ 2121223 w 2366010"/>
              <a:gd name="connsiteY7" fmla="*/ 5137936 h 5137936"/>
              <a:gd name="connsiteX8" fmla="*/ 244787 w 2366010"/>
              <a:gd name="connsiteY8" fmla="*/ 5137936 h 5137936"/>
              <a:gd name="connsiteX9" fmla="*/ 0 w 2366010"/>
              <a:gd name="connsiteY9" fmla="*/ 4893149 h 5137936"/>
              <a:gd name="connsiteX10" fmla="*/ 0 w 2366010"/>
              <a:gd name="connsiteY10" fmla="*/ 258273 h 5137936"/>
              <a:gd name="connsiteX0" fmla="*/ 0 w 2366010"/>
              <a:gd name="connsiteY0" fmla="*/ 258273 h 5137936"/>
              <a:gd name="connsiteX1" fmla="*/ 244787 w 2366010"/>
              <a:gd name="connsiteY1" fmla="*/ 13486 h 5137936"/>
              <a:gd name="connsiteX2" fmla="*/ 510540 w 2366010"/>
              <a:gd name="connsiteY2" fmla="*/ 17297 h 5137936"/>
              <a:gd name="connsiteX3" fmla="*/ 739140 w 2366010"/>
              <a:gd name="connsiteY3" fmla="*/ 196366 h 5137936"/>
              <a:gd name="connsiteX4" fmla="*/ 2121223 w 2366010"/>
              <a:gd name="connsiteY4" fmla="*/ 13486 h 5137936"/>
              <a:gd name="connsiteX5" fmla="*/ 2366010 w 2366010"/>
              <a:gd name="connsiteY5" fmla="*/ 258273 h 5137936"/>
              <a:gd name="connsiteX6" fmla="*/ 2366010 w 2366010"/>
              <a:gd name="connsiteY6" fmla="*/ 4893149 h 5137936"/>
              <a:gd name="connsiteX7" fmla="*/ 2121223 w 2366010"/>
              <a:gd name="connsiteY7" fmla="*/ 5137936 h 5137936"/>
              <a:gd name="connsiteX8" fmla="*/ 244787 w 2366010"/>
              <a:gd name="connsiteY8" fmla="*/ 5137936 h 5137936"/>
              <a:gd name="connsiteX9" fmla="*/ 0 w 2366010"/>
              <a:gd name="connsiteY9" fmla="*/ 4893149 h 5137936"/>
              <a:gd name="connsiteX10" fmla="*/ 0 w 2366010"/>
              <a:gd name="connsiteY10" fmla="*/ 258273 h 5137936"/>
              <a:gd name="connsiteX0" fmla="*/ 0 w 2366010"/>
              <a:gd name="connsiteY0" fmla="*/ 258273 h 5137936"/>
              <a:gd name="connsiteX1" fmla="*/ 244787 w 2366010"/>
              <a:gd name="connsiteY1" fmla="*/ 13486 h 5137936"/>
              <a:gd name="connsiteX2" fmla="*/ 510540 w 2366010"/>
              <a:gd name="connsiteY2" fmla="*/ 17297 h 5137936"/>
              <a:gd name="connsiteX3" fmla="*/ 739140 w 2366010"/>
              <a:gd name="connsiteY3" fmla="*/ 196366 h 5137936"/>
              <a:gd name="connsiteX4" fmla="*/ 2121223 w 2366010"/>
              <a:gd name="connsiteY4" fmla="*/ 13486 h 5137936"/>
              <a:gd name="connsiteX5" fmla="*/ 2366010 w 2366010"/>
              <a:gd name="connsiteY5" fmla="*/ 258273 h 5137936"/>
              <a:gd name="connsiteX6" fmla="*/ 2366010 w 2366010"/>
              <a:gd name="connsiteY6" fmla="*/ 4893149 h 5137936"/>
              <a:gd name="connsiteX7" fmla="*/ 2121223 w 2366010"/>
              <a:gd name="connsiteY7" fmla="*/ 5137936 h 5137936"/>
              <a:gd name="connsiteX8" fmla="*/ 244787 w 2366010"/>
              <a:gd name="connsiteY8" fmla="*/ 5137936 h 5137936"/>
              <a:gd name="connsiteX9" fmla="*/ 0 w 2366010"/>
              <a:gd name="connsiteY9" fmla="*/ 4893149 h 5137936"/>
              <a:gd name="connsiteX10" fmla="*/ 0 w 2366010"/>
              <a:gd name="connsiteY10" fmla="*/ 258273 h 5137936"/>
              <a:gd name="connsiteX0" fmla="*/ 0 w 2366010"/>
              <a:gd name="connsiteY0" fmla="*/ 251685 h 5131348"/>
              <a:gd name="connsiteX1" fmla="*/ 244787 w 2366010"/>
              <a:gd name="connsiteY1" fmla="*/ 6898 h 5131348"/>
              <a:gd name="connsiteX2" fmla="*/ 510540 w 2366010"/>
              <a:gd name="connsiteY2" fmla="*/ 10709 h 5131348"/>
              <a:gd name="connsiteX3" fmla="*/ 739140 w 2366010"/>
              <a:gd name="connsiteY3" fmla="*/ 189778 h 5131348"/>
              <a:gd name="connsiteX4" fmla="*/ 2121223 w 2366010"/>
              <a:gd name="connsiteY4" fmla="*/ 6898 h 5131348"/>
              <a:gd name="connsiteX5" fmla="*/ 2366010 w 2366010"/>
              <a:gd name="connsiteY5" fmla="*/ 251685 h 5131348"/>
              <a:gd name="connsiteX6" fmla="*/ 2366010 w 2366010"/>
              <a:gd name="connsiteY6" fmla="*/ 4886561 h 5131348"/>
              <a:gd name="connsiteX7" fmla="*/ 2121223 w 2366010"/>
              <a:gd name="connsiteY7" fmla="*/ 5131348 h 5131348"/>
              <a:gd name="connsiteX8" fmla="*/ 244787 w 2366010"/>
              <a:gd name="connsiteY8" fmla="*/ 5131348 h 5131348"/>
              <a:gd name="connsiteX9" fmla="*/ 0 w 2366010"/>
              <a:gd name="connsiteY9" fmla="*/ 4886561 h 5131348"/>
              <a:gd name="connsiteX10" fmla="*/ 0 w 2366010"/>
              <a:gd name="connsiteY10" fmla="*/ 251685 h 5131348"/>
              <a:gd name="connsiteX0" fmla="*/ 0 w 2366010"/>
              <a:gd name="connsiteY0" fmla="*/ 251685 h 5131348"/>
              <a:gd name="connsiteX1" fmla="*/ 244787 w 2366010"/>
              <a:gd name="connsiteY1" fmla="*/ 6898 h 5131348"/>
              <a:gd name="connsiteX2" fmla="*/ 510540 w 2366010"/>
              <a:gd name="connsiteY2" fmla="*/ 10709 h 5131348"/>
              <a:gd name="connsiteX3" fmla="*/ 727710 w 2366010"/>
              <a:gd name="connsiteY3" fmla="*/ 189778 h 5131348"/>
              <a:gd name="connsiteX4" fmla="*/ 2121223 w 2366010"/>
              <a:gd name="connsiteY4" fmla="*/ 6898 h 5131348"/>
              <a:gd name="connsiteX5" fmla="*/ 2366010 w 2366010"/>
              <a:gd name="connsiteY5" fmla="*/ 251685 h 5131348"/>
              <a:gd name="connsiteX6" fmla="*/ 2366010 w 2366010"/>
              <a:gd name="connsiteY6" fmla="*/ 4886561 h 5131348"/>
              <a:gd name="connsiteX7" fmla="*/ 2121223 w 2366010"/>
              <a:gd name="connsiteY7" fmla="*/ 5131348 h 5131348"/>
              <a:gd name="connsiteX8" fmla="*/ 244787 w 2366010"/>
              <a:gd name="connsiteY8" fmla="*/ 5131348 h 5131348"/>
              <a:gd name="connsiteX9" fmla="*/ 0 w 2366010"/>
              <a:gd name="connsiteY9" fmla="*/ 4886561 h 5131348"/>
              <a:gd name="connsiteX10" fmla="*/ 0 w 2366010"/>
              <a:gd name="connsiteY10" fmla="*/ 251685 h 5131348"/>
              <a:gd name="connsiteX0" fmla="*/ 0 w 2366010"/>
              <a:gd name="connsiteY0" fmla="*/ 255624 h 5135287"/>
              <a:gd name="connsiteX1" fmla="*/ 244787 w 2366010"/>
              <a:gd name="connsiteY1" fmla="*/ 10837 h 5135287"/>
              <a:gd name="connsiteX2" fmla="*/ 520700 w 2366010"/>
              <a:gd name="connsiteY2" fmla="*/ 7028 h 5135287"/>
              <a:gd name="connsiteX3" fmla="*/ 727710 w 2366010"/>
              <a:gd name="connsiteY3" fmla="*/ 193717 h 5135287"/>
              <a:gd name="connsiteX4" fmla="*/ 2121223 w 2366010"/>
              <a:gd name="connsiteY4" fmla="*/ 10837 h 5135287"/>
              <a:gd name="connsiteX5" fmla="*/ 2366010 w 2366010"/>
              <a:gd name="connsiteY5" fmla="*/ 255624 h 5135287"/>
              <a:gd name="connsiteX6" fmla="*/ 2366010 w 2366010"/>
              <a:gd name="connsiteY6" fmla="*/ 4890500 h 5135287"/>
              <a:gd name="connsiteX7" fmla="*/ 2121223 w 2366010"/>
              <a:gd name="connsiteY7" fmla="*/ 5135287 h 5135287"/>
              <a:gd name="connsiteX8" fmla="*/ 244787 w 2366010"/>
              <a:gd name="connsiteY8" fmla="*/ 5135287 h 5135287"/>
              <a:gd name="connsiteX9" fmla="*/ 0 w 2366010"/>
              <a:gd name="connsiteY9" fmla="*/ 4890500 h 5135287"/>
              <a:gd name="connsiteX10" fmla="*/ 0 w 2366010"/>
              <a:gd name="connsiteY10" fmla="*/ 255624 h 5135287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2121223 w 2366010"/>
              <a:gd name="connsiteY4" fmla="*/ 11860 h 5136310"/>
              <a:gd name="connsiteX5" fmla="*/ 2366010 w 2366010"/>
              <a:gd name="connsiteY5" fmla="*/ 256647 h 5136310"/>
              <a:gd name="connsiteX6" fmla="*/ 2366010 w 2366010"/>
              <a:gd name="connsiteY6" fmla="*/ 4891523 h 5136310"/>
              <a:gd name="connsiteX7" fmla="*/ 2121223 w 2366010"/>
              <a:gd name="connsiteY7" fmla="*/ 5136310 h 5136310"/>
              <a:gd name="connsiteX8" fmla="*/ 244787 w 2366010"/>
              <a:gd name="connsiteY8" fmla="*/ 5136310 h 5136310"/>
              <a:gd name="connsiteX9" fmla="*/ 0 w 2366010"/>
              <a:gd name="connsiteY9" fmla="*/ 4891523 h 5136310"/>
              <a:gd name="connsiteX10" fmla="*/ 0 w 2366010"/>
              <a:gd name="connsiteY10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2121223 w 2366010"/>
              <a:gd name="connsiteY4" fmla="*/ 11860 h 5136310"/>
              <a:gd name="connsiteX5" fmla="*/ 2366010 w 2366010"/>
              <a:gd name="connsiteY5" fmla="*/ 256647 h 5136310"/>
              <a:gd name="connsiteX6" fmla="*/ 2366010 w 2366010"/>
              <a:gd name="connsiteY6" fmla="*/ 4891523 h 5136310"/>
              <a:gd name="connsiteX7" fmla="*/ 2121223 w 2366010"/>
              <a:gd name="connsiteY7" fmla="*/ 5136310 h 5136310"/>
              <a:gd name="connsiteX8" fmla="*/ 244787 w 2366010"/>
              <a:gd name="connsiteY8" fmla="*/ 5136310 h 5136310"/>
              <a:gd name="connsiteX9" fmla="*/ 0 w 2366010"/>
              <a:gd name="connsiteY9" fmla="*/ 4891523 h 5136310"/>
              <a:gd name="connsiteX10" fmla="*/ 0 w 2366010"/>
              <a:gd name="connsiteY10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2381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1758153 w 2366010"/>
              <a:gd name="connsiteY5" fmla="*/ 137593 h 5136310"/>
              <a:gd name="connsiteX6" fmla="*/ 2121223 w 2366010"/>
              <a:gd name="connsiteY6" fmla="*/ 11860 h 5136310"/>
              <a:gd name="connsiteX7" fmla="*/ 2366010 w 2366010"/>
              <a:gd name="connsiteY7" fmla="*/ 256647 h 5136310"/>
              <a:gd name="connsiteX8" fmla="*/ 2366010 w 2366010"/>
              <a:gd name="connsiteY8" fmla="*/ 4891523 h 5136310"/>
              <a:gd name="connsiteX9" fmla="*/ 2121223 w 2366010"/>
              <a:gd name="connsiteY9" fmla="*/ 5136310 h 5136310"/>
              <a:gd name="connsiteX10" fmla="*/ 244787 w 2366010"/>
              <a:gd name="connsiteY10" fmla="*/ 5136310 h 5136310"/>
              <a:gd name="connsiteX11" fmla="*/ 0 w 2366010"/>
              <a:gd name="connsiteY11" fmla="*/ 4891523 h 5136310"/>
              <a:gd name="connsiteX12" fmla="*/ 0 w 2366010"/>
              <a:gd name="connsiteY12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1765773 w 2366010"/>
              <a:gd name="connsiteY5" fmla="*/ 178233 h 5136310"/>
              <a:gd name="connsiteX6" fmla="*/ 2121223 w 2366010"/>
              <a:gd name="connsiteY6" fmla="*/ 11860 h 5136310"/>
              <a:gd name="connsiteX7" fmla="*/ 2366010 w 2366010"/>
              <a:gd name="connsiteY7" fmla="*/ 256647 h 5136310"/>
              <a:gd name="connsiteX8" fmla="*/ 2366010 w 2366010"/>
              <a:gd name="connsiteY8" fmla="*/ 4891523 h 5136310"/>
              <a:gd name="connsiteX9" fmla="*/ 2121223 w 2366010"/>
              <a:gd name="connsiteY9" fmla="*/ 5136310 h 5136310"/>
              <a:gd name="connsiteX10" fmla="*/ 244787 w 2366010"/>
              <a:gd name="connsiteY10" fmla="*/ 5136310 h 5136310"/>
              <a:gd name="connsiteX11" fmla="*/ 0 w 2366010"/>
              <a:gd name="connsiteY11" fmla="*/ 4891523 h 5136310"/>
              <a:gd name="connsiteX12" fmla="*/ 0 w 2366010"/>
              <a:gd name="connsiteY12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1773393 w 2366010"/>
              <a:gd name="connsiteY5" fmla="*/ 211253 h 5136310"/>
              <a:gd name="connsiteX6" fmla="*/ 2121223 w 2366010"/>
              <a:gd name="connsiteY6" fmla="*/ 11860 h 5136310"/>
              <a:gd name="connsiteX7" fmla="*/ 2366010 w 2366010"/>
              <a:gd name="connsiteY7" fmla="*/ 256647 h 5136310"/>
              <a:gd name="connsiteX8" fmla="*/ 2366010 w 2366010"/>
              <a:gd name="connsiteY8" fmla="*/ 4891523 h 5136310"/>
              <a:gd name="connsiteX9" fmla="*/ 2121223 w 2366010"/>
              <a:gd name="connsiteY9" fmla="*/ 5136310 h 5136310"/>
              <a:gd name="connsiteX10" fmla="*/ 244787 w 2366010"/>
              <a:gd name="connsiteY10" fmla="*/ 5136310 h 5136310"/>
              <a:gd name="connsiteX11" fmla="*/ 0 w 2366010"/>
              <a:gd name="connsiteY11" fmla="*/ 4891523 h 5136310"/>
              <a:gd name="connsiteX12" fmla="*/ 0 w 2366010"/>
              <a:gd name="connsiteY12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1760693 w 2366010"/>
              <a:gd name="connsiteY5" fmla="*/ 188393 h 5136310"/>
              <a:gd name="connsiteX6" fmla="*/ 2121223 w 2366010"/>
              <a:gd name="connsiteY6" fmla="*/ 11860 h 5136310"/>
              <a:gd name="connsiteX7" fmla="*/ 2366010 w 2366010"/>
              <a:gd name="connsiteY7" fmla="*/ 256647 h 5136310"/>
              <a:gd name="connsiteX8" fmla="*/ 2366010 w 2366010"/>
              <a:gd name="connsiteY8" fmla="*/ 4891523 h 5136310"/>
              <a:gd name="connsiteX9" fmla="*/ 2121223 w 2366010"/>
              <a:gd name="connsiteY9" fmla="*/ 5136310 h 5136310"/>
              <a:gd name="connsiteX10" fmla="*/ 244787 w 2366010"/>
              <a:gd name="connsiteY10" fmla="*/ 5136310 h 5136310"/>
              <a:gd name="connsiteX11" fmla="*/ 0 w 2366010"/>
              <a:gd name="connsiteY11" fmla="*/ 4891523 h 5136310"/>
              <a:gd name="connsiteX12" fmla="*/ 0 w 2366010"/>
              <a:gd name="connsiteY12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1760693 w 2366010"/>
              <a:gd name="connsiteY5" fmla="*/ 188393 h 5136310"/>
              <a:gd name="connsiteX6" fmla="*/ 2121223 w 2366010"/>
              <a:gd name="connsiteY6" fmla="*/ 11860 h 5136310"/>
              <a:gd name="connsiteX7" fmla="*/ 2366010 w 2366010"/>
              <a:gd name="connsiteY7" fmla="*/ 256647 h 5136310"/>
              <a:gd name="connsiteX8" fmla="*/ 2366010 w 2366010"/>
              <a:gd name="connsiteY8" fmla="*/ 4891523 h 5136310"/>
              <a:gd name="connsiteX9" fmla="*/ 2121223 w 2366010"/>
              <a:gd name="connsiteY9" fmla="*/ 5136310 h 5136310"/>
              <a:gd name="connsiteX10" fmla="*/ 244787 w 2366010"/>
              <a:gd name="connsiteY10" fmla="*/ 5136310 h 5136310"/>
              <a:gd name="connsiteX11" fmla="*/ 0 w 2366010"/>
              <a:gd name="connsiteY11" fmla="*/ 4891523 h 5136310"/>
              <a:gd name="connsiteX12" fmla="*/ 0 w 2366010"/>
              <a:gd name="connsiteY12" fmla="*/ 256647 h 5136310"/>
              <a:gd name="connsiteX0" fmla="*/ 0 w 2366010"/>
              <a:gd name="connsiteY0" fmla="*/ 258231 h 5137894"/>
              <a:gd name="connsiteX1" fmla="*/ 237167 w 2366010"/>
              <a:gd name="connsiteY1" fmla="*/ 10904 h 5137894"/>
              <a:gd name="connsiteX2" fmla="*/ 520700 w 2366010"/>
              <a:gd name="connsiteY2" fmla="*/ 9635 h 5137894"/>
              <a:gd name="connsiteX3" fmla="*/ 727710 w 2366010"/>
              <a:gd name="connsiteY3" fmla="*/ 196324 h 5137894"/>
              <a:gd name="connsiteX4" fmla="*/ 1364453 w 2366010"/>
              <a:gd name="connsiteY4" fmla="*/ 197597 h 5137894"/>
              <a:gd name="connsiteX5" fmla="*/ 1760693 w 2366010"/>
              <a:gd name="connsiteY5" fmla="*/ 189977 h 5137894"/>
              <a:gd name="connsiteX6" fmla="*/ 1877533 w 2366010"/>
              <a:gd name="connsiteY6" fmla="*/ 37577 h 5137894"/>
              <a:gd name="connsiteX7" fmla="*/ 2121223 w 2366010"/>
              <a:gd name="connsiteY7" fmla="*/ 13444 h 5137894"/>
              <a:gd name="connsiteX8" fmla="*/ 2366010 w 2366010"/>
              <a:gd name="connsiteY8" fmla="*/ 258231 h 5137894"/>
              <a:gd name="connsiteX9" fmla="*/ 2366010 w 2366010"/>
              <a:gd name="connsiteY9" fmla="*/ 4893107 h 5137894"/>
              <a:gd name="connsiteX10" fmla="*/ 2121223 w 2366010"/>
              <a:gd name="connsiteY10" fmla="*/ 5137894 h 5137894"/>
              <a:gd name="connsiteX11" fmla="*/ 244787 w 2366010"/>
              <a:gd name="connsiteY11" fmla="*/ 5137894 h 5137894"/>
              <a:gd name="connsiteX12" fmla="*/ 0 w 2366010"/>
              <a:gd name="connsiteY12" fmla="*/ 4893107 h 5137894"/>
              <a:gd name="connsiteX13" fmla="*/ 0 w 2366010"/>
              <a:gd name="connsiteY13" fmla="*/ 258231 h 5137894"/>
              <a:gd name="connsiteX0" fmla="*/ 0 w 2366010"/>
              <a:gd name="connsiteY0" fmla="*/ 258231 h 5137894"/>
              <a:gd name="connsiteX1" fmla="*/ 237167 w 2366010"/>
              <a:gd name="connsiteY1" fmla="*/ 10904 h 5137894"/>
              <a:gd name="connsiteX2" fmla="*/ 520700 w 2366010"/>
              <a:gd name="connsiteY2" fmla="*/ 9635 h 5137894"/>
              <a:gd name="connsiteX3" fmla="*/ 727710 w 2366010"/>
              <a:gd name="connsiteY3" fmla="*/ 196324 h 5137894"/>
              <a:gd name="connsiteX4" fmla="*/ 1364453 w 2366010"/>
              <a:gd name="connsiteY4" fmla="*/ 197597 h 5137894"/>
              <a:gd name="connsiteX5" fmla="*/ 1760693 w 2366010"/>
              <a:gd name="connsiteY5" fmla="*/ 189977 h 5137894"/>
              <a:gd name="connsiteX6" fmla="*/ 1877533 w 2366010"/>
              <a:gd name="connsiteY6" fmla="*/ 37577 h 5137894"/>
              <a:gd name="connsiteX7" fmla="*/ 2121223 w 2366010"/>
              <a:gd name="connsiteY7" fmla="*/ 13444 h 5137894"/>
              <a:gd name="connsiteX8" fmla="*/ 2366010 w 2366010"/>
              <a:gd name="connsiteY8" fmla="*/ 258231 h 5137894"/>
              <a:gd name="connsiteX9" fmla="*/ 2366010 w 2366010"/>
              <a:gd name="connsiteY9" fmla="*/ 4893107 h 5137894"/>
              <a:gd name="connsiteX10" fmla="*/ 2121223 w 2366010"/>
              <a:gd name="connsiteY10" fmla="*/ 5137894 h 5137894"/>
              <a:gd name="connsiteX11" fmla="*/ 244787 w 2366010"/>
              <a:gd name="connsiteY11" fmla="*/ 5137894 h 5137894"/>
              <a:gd name="connsiteX12" fmla="*/ 0 w 2366010"/>
              <a:gd name="connsiteY12" fmla="*/ 4893107 h 5137894"/>
              <a:gd name="connsiteX13" fmla="*/ 0 w 2366010"/>
              <a:gd name="connsiteY13" fmla="*/ 258231 h 5137894"/>
              <a:gd name="connsiteX0" fmla="*/ 0 w 2366010"/>
              <a:gd name="connsiteY0" fmla="*/ 263996 h 5143659"/>
              <a:gd name="connsiteX1" fmla="*/ 237167 w 2366010"/>
              <a:gd name="connsiteY1" fmla="*/ 16669 h 5143659"/>
              <a:gd name="connsiteX2" fmla="*/ 520700 w 2366010"/>
              <a:gd name="connsiteY2" fmla="*/ 15400 h 5143659"/>
              <a:gd name="connsiteX3" fmla="*/ 727710 w 2366010"/>
              <a:gd name="connsiteY3" fmla="*/ 202089 h 5143659"/>
              <a:gd name="connsiteX4" fmla="*/ 1364453 w 2366010"/>
              <a:gd name="connsiteY4" fmla="*/ 203362 h 5143659"/>
              <a:gd name="connsiteX5" fmla="*/ 1760693 w 2366010"/>
              <a:gd name="connsiteY5" fmla="*/ 195742 h 5143659"/>
              <a:gd name="connsiteX6" fmla="*/ 1864833 w 2366010"/>
              <a:gd name="connsiteY6" fmla="*/ 25562 h 5143659"/>
              <a:gd name="connsiteX7" fmla="*/ 2121223 w 2366010"/>
              <a:gd name="connsiteY7" fmla="*/ 19209 h 5143659"/>
              <a:gd name="connsiteX8" fmla="*/ 2366010 w 2366010"/>
              <a:gd name="connsiteY8" fmla="*/ 263996 h 5143659"/>
              <a:gd name="connsiteX9" fmla="*/ 2366010 w 2366010"/>
              <a:gd name="connsiteY9" fmla="*/ 4898872 h 5143659"/>
              <a:gd name="connsiteX10" fmla="*/ 2121223 w 2366010"/>
              <a:gd name="connsiteY10" fmla="*/ 5143659 h 5143659"/>
              <a:gd name="connsiteX11" fmla="*/ 244787 w 2366010"/>
              <a:gd name="connsiteY11" fmla="*/ 5143659 h 5143659"/>
              <a:gd name="connsiteX12" fmla="*/ 0 w 2366010"/>
              <a:gd name="connsiteY12" fmla="*/ 4898872 h 5143659"/>
              <a:gd name="connsiteX13" fmla="*/ 0 w 2366010"/>
              <a:gd name="connsiteY13" fmla="*/ 263996 h 5143659"/>
              <a:gd name="connsiteX0" fmla="*/ 0 w 2366010"/>
              <a:gd name="connsiteY0" fmla="*/ 256648 h 5136311"/>
              <a:gd name="connsiteX1" fmla="*/ 237167 w 2366010"/>
              <a:gd name="connsiteY1" fmla="*/ 9321 h 5136311"/>
              <a:gd name="connsiteX2" fmla="*/ 520700 w 2366010"/>
              <a:gd name="connsiteY2" fmla="*/ 8052 h 5136311"/>
              <a:gd name="connsiteX3" fmla="*/ 727710 w 2366010"/>
              <a:gd name="connsiteY3" fmla="*/ 194741 h 5136311"/>
              <a:gd name="connsiteX4" fmla="*/ 1364453 w 2366010"/>
              <a:gd name="connsiteY4" fmla="*/ 196014 h 5136311"/>
              <a:gd name="connsiteX5" fmla="*/ 1760693 w 2366010"/>
              <a:gd name="connsiteY5" fmla="*/ 188394 h 5136311"/>
              <a:gd name="connsiteX6" fmla="*/ 1864833 w 2366010"/>
              <a:gd name="connsiteY6" fmla="*/ 18214 h 5136311"/>
              <a:gd name="connsiteX7" fmla="*/ 2121223 w 2366010"/>
              <a:gd name="connsiteY7" fmla="*/ 11861 h 5136311"/>
              <a:gd name="connsiteX8" fmla="*/ 2366010 w 2366010"/>
              <a:gd name="connsiteY8" fmla="*/ 256648 h 5136311"/>
              <a:gd name="connsiteX9" fmla="*/ 2366010 w 2366010"/>
              <a:gd name="connsiteY9" fmla="*/ 4891524 h 5136311"/>
              <a:gd name="connsiteX10" fmla="*/ 2121223 w 2366010"/>
              <a:gd name="connsiteY10" fmla="*/ 5136311 h 5136311"/>
              <a:gd name="connsiteX11" fmla="*/ 244787 w 2366010"/>
              <a:gd name="connsiteY11" fmla="*/ 5136311 h 5136311"/>
              <a:gd name="connsiteX12" fmla="*/ 0 w 2366010"/>
              <a:gd name="connsiteY12" fmla="*/ 4891524 h 5136311"/>
              <a:gd name="connsiteX13" fmla="*/ 0 w 2366010"/>
              <a:gd name="connsiteY13" fmla="*/ 256648 h 5136311"/>
              <a:gd name="connsiteX0" fmla="*/ 0 w 2366010"/>
              <a:gd name="connsiteY0" fmla="*/ 258309 h 5137972"/>
              <a:gd name="connsiteX1" fmla="*/ 237167 w 2366010"/>
              <a:gd name="connsiteY1" fmla="*/ 10982 h 5137972"/>
              <a:gd name="connsiteX2" fmla="*/ 520700 w 2366010"/>
              <a:gd name="connsiteY2" fmla="*/ 9713 h 5137972"/>
              <a:gd name="connsiteX3" fmla="*/ 727710 w 2366010"/>
              <a:gd name="connsiteY3" fmla="*/ 196402 h 5137972"/>
              <a:gd name="connsiteX4" fmla="*/ 1364453 w 2366010"/>
              <a:gd name="connsiteY4" fmla="*/ 197675 h 5137972"/>
              <a:gd name="connsiteX5" fmla="*/ 1760693 w 2366010"/>
              <a:gd name="connsiteY5" fmla="*/ 190055 h 5137972"/>
              <a:gd name="connsiteX6" fmla="*/ 1864833 w 2366010"/>
              <a:gd name="connsiteY6" fmla="*/ 19875 h 5137972"/>
              <a:gd name="connsiteX7" fmla="*/ 2121223 w 2366010"/>
              <a:gd name="connsiteY7" fmla="*/ 13522 h 5137972"/>
              <a:gd name="connsiteX8" fmla="*/ 2366010 w 2366010"/>
              <a:gd name="connsiteY8" fmla="*/ 258309 h 5137972"/>
              <a:gd name="connsiteX9" fmla="*/ 2366010 w 2366010"/>
              <a:gd name="connsiteY9" fmla="*/ 4893185 h 5137972"/>
              <a:gd name="connsiteX10" fmla="*/ 2121223 w 2366010"/>
              <a:gd name="connsiteY10" fmla="*/ 5137972 h 5137972"/>
              <a:gd name="connsiteX11" fmla="*/ 244787 w 2366010"/>
              <a:gd name="connsiteY11" fmla="*/ 5137972 h 5137972"/>
              <a:gd name="connsiteX12" fmla="*/ 0 w 2366010"/>
              <a:gd name="connsiteY12" fmla="*/ 4893185 h 5137972"/>
              <a:gd name="connsiteX13" fmla="*/ 0 w 2366010"/>
              <a:gd name="connsiteY13" fmla="*/ 258309 h 5137972"/>
              <a:gd name="connsiteX0" fmla="*/ 0 w 2366010"/>
              <a:gd name="connsiteY0" fmla="*/ 258309 h 5137972"/>
              <a:gd name="connsiteX1" fmla="*/ 237167 w 2366010"/>
              <a:gd name="connsiteY1" fmla="*/ 10982 h 5137972"/>
              <a:gd name="connsiteX2" fmla="*/ 520700 w 2366010"/>
              <a:gd name="connsiteY2" fmla="*/ 9713 h 5137972"/>
              <a:gd name="connsiteX3" fmla="*/ 727710 w 2366010"/>
              <a:gd name="connsiteY3" fmla="*/ 196402 h 5137972"/>
              <a:gd name="connsiteX4" fmla="*/ 1364453 w 2366010"/>
              <a:gd name="connsiteY4" fmla="*/ 197675 h 5137972"/>
              <a:gd name="connsiteX5" fmla="*/ 1753073 w 2366010"/>
              <a:gd name="connsiteY5" fmla="*/ 190055 h 5137972"/>
              <a:gd name="connsiteX6" fmla="*/ 1864833 w 2366010"/>
              <a:gd name="connsiteY6" fmla="*/ 19875 h 5137972"/>
              <a:gd name="connsiteX7" fmla="*/ 2121223 w 2366010"/>
              <a:gd name="connsiteY7" fmla="*/ 13522 h 5137972"/>
              <a:gd name="connsiteX8" fmla="*/ 2366010 w 2366010"/>
              <a:gd name="connsiteY8" fmla="*/ 258309 h 5137972"/>
              <a:gd name="connsiteX9" fmla="*/ 2366010 w 2366010"/>
              <a:gd name="connsiteY9" fmla="*/ 4893185 h 5137972"/>
              <a:gd name="connsiteX10" fmla="*/ 2121223 w 2366010"/>
              <a:gd name="connsiteY10" fmla="*/ 5137972 h 5137972"/>
              <a:gd name="connsiteX11" fmla="*/ 244787 w 2366010"/>
              <a:gd name="connsiteY11" fmla="*/ 5137972 h 5137972"/>
              <a:gd name="connsiteX12" fmla="*/ 0 w 2366010"/>
              <a:gd name="connsiteY12" fmla="*/ 4893185 h 5137972"/>
              <a:gd name="connsiteX13" fmla="*/ 0 w 2366010"/>
              <a:gd name="connsiteY13" fmla="*/ 258309 h 5137972"/>
              <a:gd name="connsiteX0" fmla="*/ 0 w 2366010"/>
              <a:gd name="connsiteY0" fmla="*/ 258309 h 5137972"/>
              <a:gd name="connsiteX1" fmla="*/ 237167 w 2366010"/>
              <a:gd name="connsiteY1" fmla="*/ 10982 h 5137972"/>
              <a:gd name="connsiteX2" fmla="*/ 520700 w 2366010"/>
              <a:gd name="connsiteY2" fmla="*/ 9713 h 5137972"/>
              <a:gd name="connsiteX3" fmla="*/ 727710 w 2366010"/>
              <a:gd name="connsiteY3" fmla="*/ 196402 h 5137972"/>
              <a:gd name="connsiteX4" fmla="*/ 1364453 w 2366010"/>
              <a:gd name="connsiteY4" fmla="*/ 197675 h 5137972"/>
              <a:gd name="connsiteX5" fmla="*/ 1753073 w 2366010"/>
              <a:gd name="connsiteY5" fmla="*/ 190055 h 5137972"/>
              <a:gd name="connsiteX6" fmla="*/ 1864833 w 2366010"/>
              <a:gd name="connsiteY6" fmla="*/ 19875 h 5137972"/>
              <a:gd name="connsiteX7" fmla="*/ 2121223 w 2366010"/>
              <a:gd name="connsiteY7" fmla="*/ 13522 h 5137972"/>
              <a:gd name="connsiteX8" fmla="*/ 2366010 w 2366010"/>
              <a:gd name="connsiteY8" fmla="*/ 258309 h 5137972"/>
              <a:gd name="connsiteX9" fmla="*/ 2366010 w 2366010"/>
              <a:gd name="connsiteY9" fmla="*/ 4893185 h 5137972"/>
              <a:gd name="connsiteX10" fmla="*/ 2121223 w 2366010"/>
              <a:gd name="connsiteY10" fmla="*/ 5137972 h 5137972"/>
              <a:gd name="connsiteX11" fmla="*/ 244787 w 2366010"/>
              <a:gd name="connsiteY11" fmla="*/ 5137972 h 5137972"/>
              <a:gd name="connsiteX12" fmla="*/ 0 w 2366010"/>
              <a:gd name="connsiteY12" fmla="*/ 4893185 h 5137972"/>
              <a:gd name="connsiteX13" fmla="*/ 0 w 2366010"/>
              <a:gd name="connsiteY13" fmla="*/ 258309 h 5137972"/>
              <a:gd name="connsiteX0" fmla="*/ 0 w 2366010"/>
              <a:gd name="connsiteY0" fmla="*/ 258309 h 5137972"/>
              <a:gd name="connsiteX1" fmla="*/ 237167 w 2366010"/>
              <a:gd name="connsiteY1" fmla="*/ 10982 h 5137972"/>
              <a:gd name="connsiteX2" fmla="*/ 520700 w 2366010"/>
              <a:gd name="connsiteY2" fmla="*/ 9713 h 5137972"/>
              <a:gd name="connsiteX3" fmla="*/ 727710 w 2366010"/>
              <a:gd name="connsiteY3" fmla="*/ 196402 h 5137972"/>
              <a:gd name="connsiteX4" fmla="*/ 1364453 w 2366010"/>
              <a:gd name="connsiteY4" fmla="*/ 197675 h 5137972"/>
              <a:gd name="connsiteX5" fmla="*/ 1753073 w 2366010"/>
              <a:gd name="connsiteY5" fmla="*/ 190055 h 5137972"/>
              <a:gd name="connsiteX6" fmla="*/ 1864833 w 2366010"/>
              <a:gd name="connsiteY6" fmla="*/ 19875 h 5137972"/>
              <a:gd name="connsiteX7" fmla="*/ 2121223 w 2366010"/>
              <a:gd name="connsiteY7" fmla="*/ 13522 h 5137972"/>
              <a:gd name="connsiteX8" fmla="*/ 2366010 w 2366010"/>
              <a:gd name="connsiteY8" fmla="*/ 258309 h 5137972"/>
              <a:gd name="connsiteX9" fmla="*/ 2366010 w 2366010"/>
              <a:gd name="connsiteY9" fmla="*/ 4893185 h 5137972"/>
              <a:gd name="connsiteX10" fmla="*/ 2121223 w 2366010"/>
              <a:gd name="connsiteY10" fmla="*/ 5137972 h 5137972"/>
              <a:gd name="connsiteX11" fmla="*/ 244787 w 2366010"/>
              <a:gd name="connsiteY11" fmla="*/ 5137972 h 5137972"/>
              <a:gd name="connsiteX12" fmla="*/ 0 w 2366010"/>
              <a:gd name="connsiteY12" fmla="*/ 4893185 h 5137972"/>
              <a:gd name="connsiteX13" fmla="*/ 0 w 2366010"/>
              <a:gd name="connsiteY13" fmla="*/ 258309 h 5137972"/>
              <a:gd name="connsiteX0" fmla="*/ 0 w 2366010"/>
              <a:gd name="connsiteY0" fmla="*/ 258309 h 5137972"/>
              <a:gd name="connsiteX1" fmla="*/ 237167 w 2366010"/>
              <a:gd name="connsiteY1" fmla="*/ 10982 h 5137972"/>
              <a:gd name="connsiteX2" fmla="*/ 520700 w 2366010"/>
              <a:gd name="connsiteY2" fmla="*/ 9713 h 5137972"/>
              <a:gd name="connsiteX3" fmla="*/ 727710 w 2366010"/>
              <a:gd name="connsiteY3" fmla="*/ 196402 h 5137972"/>
              <a:gd name="connsiteX4" fmla="*/ 1364453 w 2366010"/>
              <a:gd name="connsiteY4" fmla="*/ 197675 h 5137972"/>
              <a:gd name="connsiteX5" fmla="*/ 1753073 w 2366010"/>
              <a:gd name="connsiteY5" fmla="*/ 190055 h 5137972"/>
              <a:gd name="connsiteX6" fmla="*/ 1864833 w 2366010"/>
              <a:gd name="connsiteY6" fmla="*/ 19875 h 5137972"/>
              <a:gd name="connsiteX7" fmla="*/ 2121223 w 2366010"/>
              <a:gd name="connsiteY7" fmla="*/ 13522 h 5137972"/>
              <a:gd name="connsiteX8" fmla="*/ 2366010 w 2366010"/>
              <a:gd name="connsiteY8" fmla="*/ 258309 h 5137972"/>
              <a:gd name="connsiteX9" fmla="*/ 2366010 w 2366010"/>
              <a:gd name="connsiteY9" fmla="*/ 4893185 h 5137972"/>
              <a:gd name="connsiteX10" fmla="*/ 2121223 w 2366010"/>
              <a:gd name="connsiteY10" fmla="*/ 5137972 h 5137972"/>
              <a:gd name="connsiteX11" fmla="*/ 244787 w 2366010"/>
              <a:gd name="connsiteY11" fmla="*/ 5137972 h 5137972"/>
              <a:gd name="connsiteX12" fmla="*/ 0 w 2366010"/>
              <a:gd name="connsiteY12" fmla="*/ 4893185 h 5137972"/>
              <a:gd name="connsiteX13" fmla="*/ 0 w 2366010"/>
              <a:gd name="connsiteY13" fmla="*/ 258309 h 5137972"/>
              <a:gd name="connsiteX0" fmla="*/ 0 w 2366010"/>
              <a:gd name="connsiteY0" fmla="*/ 260632 h 5140295"/>
              <a:gd name="connsiteX1" fmla="*/ 237167 w 2366010"/>
              <a:gd name="connsiteY1" fmla="*/ 13305 h 5140295"/>
              <a:gd name="connsiteX2" fmla="*/ 520700 w 2366010"/>
              <a:gd name="connsiteY2" fmla="*/ 12036 h 5140295"/>
              <a:gd name="connsiteX3" fmla="*/ 727710 w 2366010"/>
              <a:gd name="connsiteY3" fmla="*/ 198725 h 5140295"/>
              <a:gd name="connsiteX4" fmla="*/ 1364453 w 2366010"/>
              <a:gd name="connsiteY4" fmla="*/ 199998 h 5140295"/>
              <a:gd name="connsiteX5" fmla="*/ 1753073 w 2366010"/>
              <a:gd name="connsiteY5" fmla="*/ 192378 h 5140295"/>
              <a:gd name="connsiteX6" fmla="*/ 1857213 w 2366010"/>
              <a:gd name="connsiteY6" fmla="*/ 14578 h 5140295"/>
              <a:gd name="connsiteX7" fmla="*/ 2121223 w 2366010"/>
              <a:gd name="connsiteY7" fmla="*/ 15845 h 5140295"/>
              <a:gd name="connsiteX8" fmla="*/ 2366010 w 2366010"/>
              <a:gd name="connsiteY8" fmla="*/ 260632 h 5140295"/>
              <a:gd name="connsiteX9" fmla="*/ 2366010 w 2366010"/>
              <a:gd name="connsiteY9" fmla="*/ 4895508 h 5140295"/>
              <a:gd name="connsiteX10" fmla="*/ 2121223 w 2366010"/>
              <a:gd name="connsiteY10" fmla="*/ 5140295 h 5140295"/>
              <a:gd name="connsiteX11" fmla="*/ 244787 w 2366010"/>
              <a:gd name="connsiteY11" fmla="*/ 5140295 h 5140295"/>
              <a:gd name="connsiteX12" fmla="*/ 0 w 2366010"/>
              <a:gd name="connsiteY12" fmla="*/ 4895508 h 5140295"/>
              <a:gd name="connsiteX13" fmla="*/ 0 w 2366010"/>
              <a:gd name="connsiteY13" fmla="*/ 260632 h 5140295"/>
              <a:gd name="connsiteX0" fmla="*/ 0 w 2366010"/>
              <a:gd name="connsiteY0" fmla="*/ 262169 h 5141832"/>
              <a:gd name="connsiteX1" fmla="*/ 237167 w 2366010"/>
              <a:gd name="connsiteY1" fmla="*/ 14842 h 5141832"/>
              <a:gd name="connsiteX2" fmla="*/ 520700 w 2366010"/>
              <a:gd name="connsiteY2" fmla="*/ 13573 h 5141832"/>
              <a:gd name="connsiteX3" fmla="*/ 727710 w 2366010"/>
              <a:gd name="connsiteY3" fmla="*/ 200262 h 5141832"/>
              <a:gd name="connsiteX4" fmla="*/ 1364453 w 2366010"/>
              <a:gd name="connsiteY4" fmla="*/ 201535 h 5141832"/>
              <a:gd name="connsiteX5" fmla="*/ 1753073 w 2366010"/>
              <a:gd name="connsiteY5" fmla="*/ 193915 h 5141832"/>
              <a:gd name="connsiteX6" fmla="*/ 1857213 w 2366010"/>
              <a:gd name="connsiteY6" fmla="*/ 16115 h 5141832"/>
              <a:gd name="connsiteX7" fmla="*/ 2121223 w 2366010"/>
              <a:gd name="connsiteY7" fmla="*/ 17382 h 5141832"/>
              <a:gd name="connsiteX8" fmla="*/ 2366010 w 2366010"/>
              <a:gd name="connsiteY8" fmla="*/ 262169 h 5141832"/>
              <a:gd name="connsiteX9" fmla="*/ 2366010 w 2366010"/>
              <a:gd name="connsiteY9" fmla="*/ 4897045 h 5141832"/>
              <a:gd name="connsiteX10" fmla="*/ 2121223 w 2366010"/>
              <a:gd name="connsiteY10" fmla="*/ 5141832 h 5141832"/>
              <a:gd name="connsiteX11" fmla="*/ 244787 w 2366010"/>
              <a:gd name="connsiteY11" fmla="*/ 5141832 h 5141832"/>
              <a:gd name="connsiteX12" fmla="*/ 0 w 2366010"/>
              <a:gd name="connsiteY12" fmla="*/ 4897045 h 5141832"/>
              <a:gd name="connsiteX13" fmla="*/ 0 w 2366010"/>
              <a:gd name="connsiteY13" fmla="*/ 262169 h 5141832"/>
              <a:gd name="connsiteX0" fmla="*/ 0 w 2366010"/>
              <a:gd name="connsiteY0" fmla="*/ 259044 h 5138707"/>
              <a:gd name="connsiteX1" fmla="*/ 237167 w 2366010"/>
              <a:gd name="connsiteY1" fmla="*/ 11717 h 5138707"/>
              <a:gd name="connsiteX2" fmla="*/ 520700 w 2366010"/>
              <a:gd name="connsiteY2" fmla="*/ 10448 h 5138707"/>
              <a:gd name="connsiteX3" fmla="*/ 727710 w 2366010"/>
              <a:gd name="connsiteY3" fmla="*/ 197137 h 5138707"/>
              <a:gd name="connsiteX4" fmla="*/ 1364453 w 2366010"/>
              <a:gd name="connsiteY4" fmla="*/ 198410 h 5138707"/>
              <a:gd name="connsiteX5" fmla="*/ 1753073 w 2366010"/>
              <a:gd name="connsiteY5" fmla="*/ 190790 h 5138707"/>
              <a:gd name="connsiteX6" fmla="*/ 1857213 w 2366010"/>
              <a:gd name="connsiteY6" fmla="*/ 12990 h 5138707"/>
              <a:gd name="connsiteX7" fmla="*/ 2121223 w 2366010"/>
              <a:gd name="connsiteY7" fmla="*/ 14257 h 5138707"/>
              <a:gd name="connsiteX8" fmla="*/ 2366010 w 2366010"/>
              <a:gd name="connsiteY8" fmla="*/ 259044 h 5138707"/>
              <a:gd name="connsiteX9" fmla="*/ 2366010 w 2366010"/>
              <a:gd name="connsiteY9" fmla="*/ 4893920 h 5138707"/>
              <a:gd name="connsiteX10" fmla="*/ 2121223 w 2366010"/>
              <a:gd name="connsiteY10" fmla="*/ 5138707 h 5138707"/>
              <a:gd name="connsiteX11" fmla="*/ 244787 w 2366010"/>
              <a:gd name="connsiteY11" fmla="*/ 5138707 h 5138707"/>
              <a:gd name="connsiteX12" fmla="*/ 0 w 2366010"/>
              <a:gd name="connsiteY12" fmla="*/ 4893920 h 5138707"/>
              <a:gd name="connsiteX13" fmla="*/ 0 w 2366010"/>
              <a:gd name="connsiteY13" fmla="*/ 259044 h 5138707"/>
              <a:gd name="connsiteX0" fmla="*/ 0 w 2366010"/>
              <a:gd name="connsiteY0" fmla="*/ 259044 h 5138707"/>
              <a:gd name="connsiteX1" fmla="*/ 237167 w 2366010"/>
              <a:gd name="connsiteY1" fmla="*/ 11717 h 5138707"/>
              <a:gd name="connsiteX2" fmla="*/ 520700 w 2366010"/>
              <a:gd name="connsiteY2" fmla="*/ 10448 h 5138707"/>
              <a:gd name="connsiteX3" fmla="*/ 727710 w 2366010"/>
              <a:gd name="connsiteY3" fmla="*/ 197137 h 5138707"/>
              <a:gd name="connsiteX4" fmla="*/ 1364453 w 2366010"/>
              <a:gd name="connsiteY4" fmla="*/ 198410 h 5138707"/>
              <a:gd name="connsiteX5" fmla="*/ 1753073 w 2366010"/>
              <a:gd name="connsiteY5" fmla="*/ 190790 h 5138707"/>
              <a:gd name="connsiteX6" fmla="*/ 1857213 w 2366010"/>
              <a:gd name="connsiteY6" fmla="*/ 12990 h 5138707"/>
              <a:gd name="connsiteX7" fmla="*/ 2121223 w 2366010"/>
              <a:gd name="connsiteY7" fmla="*/ 14257 h 5138707"/>
              <a:gd name="connsiteX8" fmla="*/ 2366010 w 2366010"/>
              <a:gd name="connsiteY8" fmla="*/ 259044 h 5138707"/>
              <a:gd name="connsiteX9" fmla="*/ 2366010 w 2366010"/>
              <a:gd name="connsiteY9" fmla="*/ 4893920 h 5138707"/>
              <a:gd name="connsiteX10" fmla="*/ 2121223 w 2366010"/>
              <a:gd name="connsiteY10" fmla="*/ 5138707 h 5138707"/>
              <a:gd name="connsiteX11" fmla="*/ 244787 w 2366010"/>
              <a:gd name="connsiteY11" fmla="*/ 5138707 h 5138707"/>
              <a:gd name="connsiteX12" fmla="*/ 0 w 2366010"/>
              <a:gd name="connsiteY12" fmla="*/ 4893920 h 5138707"/>
              <a:gd name="connsiteX13" fmla="*/ 0 w 2366010"/>
              <a:gd name="connsiteY13" fmla="*/ 259044 h 5138707"/>
              <a:gd name="connsiteX0" fmla="*/ 0 w 2366010"/>
              <a:gd name="connsiteY0" fmla="*/ 262169 h 5141832"/>
              <a:gd name="connsiteX1" fmla="*/ 237167 w 2366010"/>
              <a:gd name="connsiteY1" fmla="*/ 14842 h 5141832"/>
              <a:gd name="connsiteX2" fmla="*/ 520700 w 2366010"/>
              <a:gd name="connsiteY2" fmla="*/ 13573 h 5141832"/>
              <a:gd name="connsiteX3" fmla="*/ 727710 w 2366010"/>
              <a:gd name="connsiteY3" fmla="*/ 200262 h 5141832"/>
              <a:gd name="connsiteX4" fmla="*/ 1364453 w 2366010"/>
              <a:gd name="connsiteY4" fmla="*/ 201535 h 5141832"/>
              <a:gd name="connsiteX5" fmla="*/ 1753073 w 2366010"/>
              <a:gd name="connsiteY5" fmla="*/ 193915 h 5141832"/>
              <a:gd name="connsiteX6" fmla="*/ 1857213 w 2366010"/>
              <a:gd name="connsiteY6" fmla="*/ 16115 h 5141832"/>
              <a:gd name="connsiteX7" fmla="*/ 2121223 w 2366010"/>
              <a:gd name="connsiteY7" fmla="*/ 17382 h 5141832"/>
              <a:gd name="connsiteX8" fmla="*/ 2366010 w 2366010"/>
              <a:gd name="connsiteY8" fmla="*/ 262169 h 5141832"/>
              <a:gd name="connsiteX9" fmla="*/ 2366010 w 2366010"/>
              <a:gd name="connsiteY9" fmla="*/ 4897045 h 5141832"/>
              <a:gd name="connsiteX10" fmla="*/ 2121223 w 2366010"/>
              <a:gd name="connsiteY10" fmla="*/ 5141832 h 5141832"/>
              <a:gd name="connsiteX11" fmla="*/ 244787 w 2366010"/>
              <a:gd name="connsiteY11" fmla="*/ 5141832 h 5141832"/>
              <a:gd name="connsiteX12" fmla="*/ 0 w 2366010"/>
              <a:gd name="connsiteY12" fmla="*/ 4897045 h 5141832"/>
              <a:gd name="connsiteX13" fmla="*/ 0 w 2366010"/>
              <a:gd name="connsiteY13" fmla="*/ 262169 h 5141832"/>
              <a:gd name="connsiteX0" fmla="*/ 0 w 2366010"/>
              <a:gd name="connsiteY0" fmla="*/ 262169 h 5141832"/>
              <a:gd name="connsiteX1" fmla="*/ 237167 w 2366010"/>
              <a:gd name="connsiteY1" fmla="*/ 14842 h 5141832"/>
              <a:gd name="connsiteX2" fmla="*/ 520700 w 2366010"/>
              <a:gd name="connsiteY2" fmla="*/ 13573 h 5141832"/>
              <a:gd name="connsiteX3" fmla="*/ 727710 w 2366010"/>
              <a:gd name="connsiteY3" fmla="*/ 200262 h 5141832"/>
              <a:gd name="connsiteX4" fmla="*/ 1364453 w 2366010"/>
              <a:gd name="connsiteY4" fmla="*/ 201535 h 5141832"/>
              <a:gd name="connsiteX5" fmla="*/ 1755613 w 2366010"/>
              <a:gd name="connsiteY5" fmla="*/ 186299 h 5141832"/>
              <a:gd name="connsiteX6" fmla="*/ 1857213 w 2366010"/>
              <a:gd name="connsiteY6" fmla="*/ 16115 h 5141832"/>
              <a:gd name="connsiteX7" fmla="*/ 2121223 w 2366010"/>
              <a:gd name="connsiteY7" fmla="*/ 17382 h 5141832"/>
              <a:gd name="connsiteX8" fmla="*/ 2366010 w 2366010"/>
              <a:gd name="connsiteY8" fmla="*/ 262169 h 5141832"/>
              <a:gd name="connsiteX9" fmla="*/ 2366010 w 2366010"/>
              <a:gd name="connsiteY9" fmla="*/ 4897045 h 5141832"/>
              <a:gd name="connsiteX10" fmla="*/ 2121223 w 2366010"/>
              <a:gd name="connsiteY10" fmla="*/ 5141832 h 5141832"/>
              <a:gd name="connsiteX11" fmla="*/ 244787 w 2366010"/>
              <a:gd name="connsiteY11" fmla="*/ 5141832 h 5141832"/>
              <a:gd name="connsiteX12" fmla="*/ 0 w 2366010"/>
              <a:gd name="connsiteY12" fmla="*/ 4897045 h 5141832"/>
              <a:gd name="connsiteX13" fmla="*/ 0 w 2366010"/>
              <a:gd name="connsiteY13" fmla="*/ 262169 h 5141832"/>
              <a:gd name="connsiteX0" fmla="*/ 0 w 2366010"/>
              <a:gd name="connsiteY0" fmla="*/ 262169 h 5141832"/>
              <a:gd name="connsiteX1" fmla="*/ 237167 w 2366010"/>
              <a:gd name="connsiteY1" fmla="*/ 14842 h 5141832"/>
              <a:gd name="connsiteX2" fmla="*/ 520700 w 2366010"/>
              <a:gd name="connsiteY2" fmla="*/ 13573 h 5141832"/>
              <a:gd name="connsiteX3" fmla="*/ 727710 w 2366010"/>
              <a:gd name="connsiteY3" fmla="*/ 200262 h 5141832"/>
              <a:gd name="connsiteX4" fmla="*/ 1364453 w 2366010"/>
              <a:gd name="connsiteY4" fmla="*/ 201535 h 5141832"/>
              <a:gd name="connsiteX5" fmla="*/ 1755613 w 2366010"/>
              <a:gd name="connsiteY5" fmla="*/ 186299 h 5141832"/>
              <a:gd name="connsiteX6" fmla="*/ 1857213 w 2366010"/>
              <a:gd name="connsiteY6" fmla="*/ 16115 h 5141832"/>
              <a:gd name="connsiteX7" fmla="*/ 2121223 w 2366010"/>
              <a:gd name="connsiteY7" fmla="*/ 17382 h 5141832"/>
              <a:gd name="connsiteX8" fmla="*/ 2366010 w 2366010"/>
              <a:gd name="connsiteY8" fmla="*/ 262169 h 5141832"/>
              <a:gd name="connsiteX9" fmla="*/ 2366010 w 2366010"/>
              <a:gd name="connsiteY9" fmla="*/ 4897045 h 5141832"/>
              <a:gd name="connsiteX10" fmla="*/ 2121223 w 2366010"/>
              <a:gd name="connsiteY10" fmla="*/ 5141832 h 5141832"/>
              <a:gd name="connsiteX11" fmla="*/ 244787 w 2366010"/>
              <a:gd name="connsiteY11" fmla="*/ 5141832 h 5141832"/>
              <a:gd name="connsiteX12" fmla="*/ 0 w 2366010"/>
              <a:gd name="connsiteY12" fmla="*/ 4897045 h 5141832"/>
              <a:gd name="connsiteX13" fmla="*/ 0 w 2366010"/>
              <a:gd name="connsiteY13" fmla="*/ 262169 h 5141832"/>
              <a:gd name="connsiteX0" fmla="*/ 0 w 2366010"/>
              <a:gd name="connsiteY0" fmla="*/ 261383 h 5141046"/>
              <a:gd name="connsiteX1" fmla="*/ 237167 w 2366010"/>
              <a:gd name="connsiteY1" fmla="*/ 14056 h 5141046"/>
              <a:gd name="connsiteX2" fmla="*/ 520700 w 2366010"/>
              <a:gd name="connsiteY2" fmla="*/ 12787 h 5141046"/>
              <a:gd name="connsiteX3" fmla="*/ 727710 w 2366010"/>
              <a:gd name="connsiteY3" fmla="*/ 199476 h 5141046"/>
              <a:gd name="connsiteX4" fmla="*/ 1364453 w 2366010"/>
              <a:gd name="connsiteY4" fmla="*/ 200749 h 5141046"/>
              <a:gd name="connsiteX5" fmla="*/ 1755613 w 2366010"/>
              <a:gd name="connsiteY5" fmla="*/ 185513 h 5141046"/>
              <a:gd name="connsiteX6" fmla="*/ 1857213 w 2366010"/>
              <a:gd name="connsiteY6" fmla="*/ 15329 h 5141046"/>
              <a:gd name="connsiteX7" fmla="*/ 2121223 w 2366010"/>
              <a:gd name="connsiteY7" fmla="*/ 16596 h 5141046"/>
              <a:gd name="connsiteX8" fmla="*/ 2366010 w 2366010"/>
              <a:gd name="connsiteY8" fmla="*/ 261383 h 5141046"/>
              <a:gd name="connsiteX9" fmla="*/ 2366010 w 2366010"/>
              <a:gd name="connsiteY9" fmla="*/ 4896259 h 5141046"/>
              <a:gd name="connsiteX10" fmla="*/ 2121223 w 2366010"/>
              <a:gd name="connsiteY10" fmla="*/ 5141046 h 5141046"/>
              <a:gd name="connsiteX11" fmla="*/ 244787 w 2366010"/>
              <a:gd name="connsiteY11" fmla="*/ 5141046 h 5141046"/>
              <a:gd name="connsiteX12" fmla="*/ 0 w 2366010"/>
              <a:gd name="connsiteY12" fmla="*/ 4896259 h 5141046"/>
              <a:gd name="connsiteX13" fmla="*/ 0 w 2366010"/>
              <a:gd name="connsiteY13" fmla="*/ 261383 h 5141046"/>
              <a:gd name="connsiteX0" fmla="*/ 0 w 2366010"/>
              <a:gd name="connsiteY0" fmla="*/ 261383 h 5141046"/>
              <a:gd name="connsiteX1" fmla="*/ 237167 w 2366010"/>
              <a:gd name="connsiteY1" fmla="*/ 14056 h 5141046"/>
              <a:gd name="connsiteX2" fmla="*/ 520700 w 2366010"/>
              <a:gd name="connsiteY2" fmla="*/ 12787 h 5141046"/>
              <a:gd name="connsiteX3" fmla="*/ 727710 w 2366010"/>
              <a:gd name="connsiteY3" fmla="*/ 199476 h 5141046"/>
              <a:gd name="connsiteX4" fmla="*/ 1364453 w 2366010"/>
              <a:gd name="connsiteY4" fmla="*/ 200749 h 5141046"/>
              <a:gd name="connsiteX5" fmla="*/ 1755613 w 2366010"/>
              <a:gd name="connsiteY5" fmla="*/ 185513 h 5141046"/>
              <a:gd name="connsiteX6" fmla="*/ 1857213 w 2366010"/>
              <a:gd name="connsiteY6" fmla="*/ 15329 h 5141046"/>
              <a:gd name="connsiteX7" fmla="*/ 2121223 w 2366010"/>
              <a:gd name="connsiteY7" fmla="*/ 16596 h 5141046"/>
              <a:gd name="connsiteX8" fmla="*/ 2366010 w 2366010"/>
              <a:gd name="connsiteY8" fmla="*/ 261383 h 5141046"/>
              <a:gd name="connsiteX9" fmla="*/ 2366010 w 2366010"/>
              <a:gd name="connsiteY9" fmla="*/ 4896259 h 5141046"/>
              <a:gd name="connsiteX10" fmla="*/ 2121223 w 2366010"/>
              <a:gd name="connsiteY10" fmla="*/ 5141046 h 5141046"/>
              <a:gd name="connsiteX11" fmla="*/ 244787 w 2366010"/>
              <a:gd name="connsiteY11" fmla="*/ 5141046 h 5141046"/>
              <a:gd name="connsiteX12" fmla="*/ 0 w 2366010"/>
              <a:gd name="connsiteY12" fmla="*/ 4896259 h 5141046"/>
              <a:gd name="connsiteX13" fmla="*/ 0 w 2366010"/>
              <a:gd name="connsiteY13" fmla="*/ 261383 h 5141046"/>
              <a:gd name="connsiteX0" fmla="*/ 0 w 2366010"/>
              <a:gd name="connsiteY0" fmla="*/ 266517 h 5146180"/>
              <a:gd name="connsiteX1" fmla="*/ 237167 w 2366010"/>
              <a:gd name="connsiteY1" fmla="*/ 19190 h 5146180"/>
              <a:gd name="connsiteX2" fmla="*/ 520700 w 2366010"/>
              <a:gd name="connsiteY2" fmla="*/ 17921 h 5146180"/>
              <a:gd name="connsiteX3" fmla="*/ 727710 w 2366010"/>
              <a:gd name="connsiteY3" fmla="*/ 204610 h 5146180"/>
              <a:gd name="connsiteX4" fmla="*/ 1364453 w 2366010"/>
              <a:gd name="connsiteY4" fmla="*/ 205883 h 5146180"/>
              <a:gd name="connsiteX5" fmla="*/ 1755613 w 2366010"/>
              <a:gd name="connsiteY5" fmla="*/ 190647 h 5146180"/>
              <a:gd name="connsiteX6" fmla="*/ 1857213 w 2366010"/>
              <a:gd name="connsiteY6" fmla="*/ 20463 h 5146180"/>
              <a:gd name="connsiteX7" fmla="*/ 2133923 w 2366010"/>
              <a:gd name="connsiteY7" fmla="*/ 14114 h 5146180"/>
              <a:gd name="connsiteX8" fmla="*/ 2366010 w 2366010"/>
              <a:gd name="connsiteY8" fmla="*/ 266517 h 5146180"/>
              <a:gd name="connsiteX9" fmla="*/ 2366010 w 2366010"/>
              <a:gd name="connsiteY9" fmla="*/ 4901393 h 5146180"/>
              <a:gd name="connsiteX10" fmla="*/ 2121223 w 2366010"/>
              <a:gd name="connsiteY10" fmla="*/ 5146180 h 5146180"/>
              <a:gd name="connsiteX11" fmla="*/ 244787 w 2366010"/>
              <a:gd name="connsiteY11" fmla="*/ 5146180 h 5146180"/>
              <a:gd name="connsiteX12" fmla="*/ 0 w 2366010"/>
              <a:gd name="connsiteY12" fmla="*/ 4901393 h 5146180"/>
              <a:gd name="connsiteX13" fmla="*/ 0 w 2366010"/>
              <a:gd name="connsiteY13" fmla="*/ 266517 h 5146180"/>
              <a:gd name="connsiteX0" fmla="*/ 0 w 2366010"/>
              <a:gd name="connsiteY0" fmla="*/ 266517 h 5146180"/>
              <a:gd name="connsiteX1" fmla="*/ 237167 w 2366010"/>
              <a:gd name="connsiteY1" fmla="*/ 19190 h 5146180"/>
              <a:gd name="connsiteX2" fmla="*/ 520700 w 2366010"/>
              <a:gd name="connsiteY2" fmla="*/ 17921 h 5146180"/>
              <a:gd name="connsiteX3" fmla="*/ 727710 w 2366010"/>
              <a:gd name="connsiteY3" fmla="*/ 204610 h 5146180"/>
              <a:gd name="connsiteX4" fmla="*/ 1364453 w 2366010"/>
              <a:gd name="connsiteY4" fmla="*/ 205883 h 5146180"/>
              <a:gd name="connsiteX5" fmla="*/ 1755613 w 2366010"/>
              <a:gd name="connsiteY5" fmla="*/ 190647 h 5146180"/>
              <a:gd name="connsiteX6" fmla="*/ 1857213 w 2366010"/>
              <a:gd name="connsiteY6" fmla="*/ 20463 h 5146180"/>
              <a:gd name="connsiteX7" fmla="*/ 2133923 w 2366010"/>
              <a:gd name="connsiteY7" fmla="*/ 14114 h 5146180"/>
              <a:gd name="connsiteX8" fmla="*/ 2366010 w 2366010"/>
              <a:gd name="connsiteY8" fmla="*/ 266517 h 5146180"/>
              <a:gd name="connsiteX9" fmla="*/ 2366010 w 2366010"/>
              <a:gd name="connsiteY9" fmla="*/ 4901393 h 5146180"/>
              <a:gd name="connsiteX10" fmla="*/ 2121223 w 2366010"/>
              <a:gd name="connsiteY10" fmla="*/ 5146180 h 5146180"/>
              <a:gd name="connsiteX11" fmla="*/ 244787 w 2366010"/>
              <a:gd name="connsiteY11" fmla="*/ 5146180 h 5146180"/>
              <a:gd name="connsiteX12" fmla="*/ 0 w 2366010"/>
              <a:gd name="connsiteY12" fmla="*/ 4901393 h 5146180"/>
              <a:gd name="connsiteX13" fmla="*/ 0 w 2366010"/>
              <a:gd name="connsiteY13" fmla="*/ 266517 h 5146180"/>
              <a:gd name="connsiteX0" fmla="*/ 0 w 2366010"/>
              <a:gd name="connsiteY0" fmla="*/ 267643 h 5147306"/>
              <a:gd name="connsiteX1" fmla="*/ 237167 w 2366010"/>
              <a:gd name="connsiteY1" fmla="*/ 20316 h 5147306"/>
              <a:gd name="connsiteX2" fmla="*/ 520700 w 2366010"/>
              <a:gd name="connsiteY2" fmla="*/ 19047 h 5147306"/>
              <a:gd name="connsiteX3" fmla="*/ 727710 w 2366010"/>
              <a:gd name="connsiteY3" fmla="*/ 205736 h 5147306"/>
              <a:gd name="connsiteX4" fmla="*/ 1364453 w 2366010"/>
              <a:gd name="connsiteY4" fmla="*/ 207009 h 5147306"/>
              <a:gd name="connsiteX5" fmla="*/ 1755613 w 2366010"/>
              <a:gd name="connsiteY5" fmla="*/ 191773 h 5147306"/>
              <a:gd name="connsiteX6" fmla="*/ 1857213 w 2366010"/>
              <a:gd name="connsiteY6" fmla="*/ 21589 h 5147306"/>
              <a:gd name="connsiteX7" fmla="*/ 2133923 w 2366010"/>
              <a:gd name="connsiteY7" fmla="*/ 15240 h 5147306"/>
              <a:gd name="connsiteX8" fmla="*/ 2366010 w 2366010"/>
              <a:gd name="connsiteY8" fmla="*/ 267643 h 5147306"/>
              <a:gd name="connsiteX9" fmla="*/ 2366010 w 2366010"/>
              <a:gd name="connsiteY9" fmla="*/ 4902519 h 5147306"/>
              <a:gd name="connsiteX10" fmla="*/ 2121223 w 2366010"/>
              <a:gd name="connsiteY10" fmla="*/ 5147306 h 5147306"/>
              <a:gd name="connsiteX11" fmla="*/ 244787 w 2366010"/>
              <a:gd name="connsiteY11" fmla="*/ 5147306 h 5147306"/>
              <a:gd name="connsiteX12" fmla="*/ 0 w 2366010"/>
              <a:gd name="connsiteY12" fmla="*/ 4902519 h 5147306"/>
              <a:gd name="connsiteX13" fmla="*/ 0 w 2366010"/>
              <a:gd name="connsiteY13" fmla="*/ 267643 h 5147306"/>
              <a:gd name="connsiteX0" fmla="*/ 0 w 2366010"/>
              <a:gd name="connsiteY0" fmla="*/ 267643 h 5147306"/>
              <a:gd name="connsiteX1" fmla="*/ 237167 w 2366010"/>
              <a:gd name="connsiteY1" fmla="*/ 20316 h 5147306"/>
              <a:gd name="connsiteX2" fmla="*/ 520700 w 2366010"/>
              <a:gd name="connsiteY2" fmla="*/ 19047 h 5147306"/>
              <a:gd name="connsiteX3" fmla="*/ 727710 w 2366010"/>
              <a:gd name="connsiteY3" fmla="*/ 205736 h 5147306"/>
              <a:gd name="connsiteX4" fmla="*/ 1274918 w 2366010"/>
              <a:gd name="connsiteY4" fmla="*/ 205105 h 5147306"/>
              <a:gd name="connsiteX5" fmla="*/ 1755613 w 2366010"/>
              <a:gd name="connsiteY5" fmla="*/ 191773 h 5147306"/>
              <a:gd name="connsiteX6" fmla="*/ 1857213 w 2366010"/>
              <a:gd name="connsiteY6" fmla="*/ 21589 h 5147306"/>
              <a:gd name="connsiteX7" fmla="*/ 2133923 w 2366010"/>
              <a:gd name="connsiteY7" fmla="*/ 15240 h 5147306"/>
              <a:gd name="connsiteX8" fmla="*/ 2366010 w 2366010"/>
              <a:gd name="connsiteY8" fmla="*/ 267643 h 5147306"/>
              <a:gd name="connsiteX9" fmla="*/ 2366010 w 2366010"/>
              <a:gd name="connsiteY9" fmla="*/ 4902519 h 5147306"/>
              <a:gd name="connsiteX10" fmla="*/ 2121223 w 2366010"/>
              <a:gd name="connsiteY10" fmla="*/ 5147306 h 5147306"/>
              <a:gd name="connsiteX11" fmla="*/ 244787 w 2366010"/>
              <a:gd name="connsiteY11" fmla="*/ 5147306 h 5147306"/>
              <a:gd name="connsiteX12" fmla="*/ 0 w 2366010"/>
              <a:gd name="connsiteY12" fmla="*/ 4902519 h 5147306"/>
              <a:gd name="connsiteX13" fmla="*/ 0 w 2366010"/>
              <a:gd name="connsiteY13" fmla="*/ 267643 h 5147306"/>
              <a:gd name="connsiteX0" fmla="*/ 0 w 2366010"/>
              <a:gd name="connsiteY0" fmla="*/ 267643 h 5147306"/>
              <a:gd name="connsiteX1" fmla="*/ 237167 w 2366010"/>
              <a:gd name="connsiteY1" fmla="*/ 20316 h 5147306"/>
              <a:gd name="connsiteX2" fmla="*/ 520700 w 2366010"/>
              <a:gd name="connsiteY2" fmla="*/ 19047 h 5147306"/>
              <a:gd name="connsiteX3" fmla="*/ 727710 w 2366010"/>
              <a:gd name="connsiteY3" fmla="*/ 205736 h 5147306"/>
              <a:gd name="connsiteX4" fmla="*/ 1274918 w 2366010"/>
              <a:gd name="connsiteY4" fmla="*/ 205105 h 5147306"/>
              <a:gd name="connsiteX5" fmla="*/ 1755613 w 2366010"/>
              <a:gd name="connsiteY5" fmla="*/ 191773 h 5147306"/>
              <a:gd name="connsiteX6" fmla="*/ 1857213 w 2366010"/>
              <a:gd name="connsiteY6" fmla="*/ 21589 h 5147306"/>
              <a:gd name="connsiteX7" fmla="*/ 2133923 w 2366010"/>
              <a:gd name="connsiteY7" fmla="*/ 15240 h 5147306"/>
              <a:gd name="connsiteX8" fmla="*/ 2366010 w 2366010"/>
              <a:gd name="connsiteY8" fmla="*/ 267643 h 5147306"/>
              <a:gd name="connsiteX9" fmla="*/ 2366010 w 2366010"/>
              <a:gd name="connsiteY9" fmla="*/ 4902519 h 5147306"/>
              <a:gd name="connsiteX10" fmla="*/ 2121223 w 2366010"/>
              <a:gd name="connsiteY10" fmla="*/ 5147306 h 5147306"/>
              <a:gd name="connsiteX11" fmla="*/ 244787 w 2366010"/>
              <a:gd name="connsiteY11" fmla="*/ 5147306 h 5147306"/>
              <a:gd name="connsiteX12" fmla="*/ 0 w 2366010"/>
              <a:gd name="connsiteY12" fmla="*/ 4902519 h 5147306"/>
              <a:gd name="connsiteX13" fmla="*/ 0 w 2366010"/>
              <a:gd name="connsiteY13" fmla="*/ 267643 h 5147306"/>
              <a:gd name="connsiteX0" fmla="*/ 0 w 2366010"/>
              <a:gd name="connsiteY0" fmla="*/ 267643 h 5147306"/>
              <a:gd name="connsiteX1" fmla="*/ 237167 w 2366010"/>
              <a:gd name="connsiteY1" fmla="*/ 20316 h 5147306"/>
              <a:gd name="connsiteX2" fmla="*/ 520700 w 2366010"/>
              <a:gd name="connsiteY2" fmla="*/ 19047 h 5147306"/>
              <a:gd name="connsiteX3" fmla="*/ 727710 w 2366010"/>
              <a:gd name="connsiteY3" fmla="*/ 205736 h 5147306"/>
              <a:gd name="connsiteX4" fmla="*/ 1274918 w 2366010"/>
              <a:gd name="connsiteY4" fmla="*/ 205105 h 5147306"/>
              <a:gd name="connsiteX5" fmla="*/ 1753708 w 2366010"/>
              <a:gd name="connsiteY5" fmla="*/ 189869 h 5147306"/>
              <a:gd name="connsiteX6" fmla="*/ 1857213 w 2366010"/>
              <a:gd name="connsiteY6" fmla="*/ 21589 h 5147306"/>
              <a:gd name="connsiteX7" fmla="*/ 2133923 w 2366010"/>
              <a:gd name="connsiteY7" fmla="*/ 15240 h 5147306"/>
              <a:gd name="connsiteX8" fmla="*/ 2366010 w 2366010"/>
              <a:gd name="connsiteY8" fmla="*/ 267643 h 5147306"/>
              <a:gd name="connsiteX9" fmla="*/ 2366010 w 2366010"/>
              <a:gd name="connsiteY9" fmla="*/ 4902519 h 5147306"/>
              <a:gd name="connsiteX10" fmla="*/ 2121223 w 2366010"/>
              <a:gd name="connsiteY10" fmla="*/ 5147306 h 5147306"/>
              <a:gd name="connsiteX11" fmla="*/ 244787 w 2366010"/>
              <a:gd name="connsiteY11" fmla="*/ 5147306 h 5147306"/>
              <a:gd name="connsiteX12" fmla="*/ 0 w 2366010"/>
              <a:gd name="connsiteY12" fmla="*/ 4902519 h 5147306"/>
              <a:gd name="connsiteX13" fmla="*/ 0 w 2366010"/>
              <a:gd name="connsiteY13" fmla="*/ 267643 h 5147306"/>
              <a:gd name="connsiteX0" fmla="*/ 0 w 2366010"/>
              <a:gd name="connsiteY0" fmla="*/ 267643 h 5147306"/>
              <a:gd name="connsiteX1" fmla="*/ 237167 w 2366010"/>
              <a:gd name="connsiteY1" fmla="*/ 20316 h 5147306"/>
              <a:gd name="connsiteX2" fmla="*/ 520700 w 2366010"/>
              <a:gd name="connsiteY2" fmla="*/ 19047 h 5147306"/>
              <a:gd name="connsiteX3" fmla="*/ 727710 w 2366010"/>
              <a:gd name="connsiteY3" fmla="*/ 205736 h 5147306"/>
              <a:gd name="connsiteX4" fmla="*/ 1274918 w 2366010"/>
              <a:gd name="connsiteY4" fmla="*/ 205105 h 5147306"/>
              <a:gd name="connsiteX5" fmla="*/ 1753708 w 2366010"/>
              <a:gd name="connsiteY5" fmla="*/ 189869 h 5147306"/>
              <a:gd name="connsiteX6" fmla="*/ 1857213 w 2366010"/>
              <a:gd name="connsiteY6" fmla="*/ 21589 h 5147306"/>
              <a:gd name="connsiteX7" fmla="*/ 2133923 w 2366010"/>
              <a:gd name="connsiteY7" fmla="*/ 15240 h 5147306"/>
              <a:gd name="connsiteX8" fmla="*/ 2366010 w 2366010"/>
              <a:gd name="connsiteY8" fmla="*/ 267643 h 5147306"/>
              <a:gd name="connsiteX9" fmla="*/ 2366010 w 2366010"/>
              <a:gd name="connsiteY9" fmla="*/ 4902519 h 5147306"/>
              <a:gd name="connsiteX10" fmla="*/ 2121223 w 2366010"/>
              <a:gd name="connsiteY10" fmla="*/ 5147306 h 5147306"/>
              <a:gd name="connsiteX11" fmla="*/ 244787 w 2366010"/>
              <a:gd name="connsiteY11" fmla="*/ 5147306 h 5147306"/>
              <a:gd name="connsiteX12" fmla="*/ 0 w 2366010"/>
              <a:gd name="connsiteY12" fmla="*/ 4902519 h 5147306"/>
              <a:gd name="connsiteX13" fmla="*/ 0 w 2366010"/>
              <a:gd name="connsiteY13" fmla="*/ 267643 h 5147306"/>
              <a:gd name="connsiteX0" fmla="*/ 0 w 2366010"/>
              <a:gd name="connsiteY0" fmla="*/ 256648 h 5136311"/>
              <a:gd name="connsiteX1" fmla="*/ 237167 w 2366010"/>
              <a:gd name="connsiteY1" fmla="*/ 9321 h 5136311"/>
              <a:gd name="connsiteX2" fmla="*/ 520700 w 2366010"/>
              <a:gd name="connsiteY2" fmla="*/ 8052 h 5136311"/>
              <a:gd name="connsiteX3" fmla="*/ 727710 w 2366010"/>
              <a:gd name="connsiteY3" fmla="*/ 194741 h 5136311"/>
              <a:gd name="connsiteX4" fmla="*/ 1274918 w 2366010"/>
              <a:gd name="connsiteY4" fmla="*/ 194110 h 5136311"/>
              <a:gd name="connsiteX5" fmla="*/ 1753708 w 2366010"/>
              <a:gd name="connsiteY5" fmla="*/ 178874 h 5136311"/>
              <a:gd name="connsiteX6" fmla="*/ 1857213 w 2366010"/>
              <a:gd name="connsiteY6" fmla="*/ 10594 h 5136311"/>
              <a:gd name="connsiteX7" fmla="*/ 2133923 w 2366010"/>
              <a:gd name="connsiteY7" fmla="*/ 4245 h 5136311"/>
              <a:gd name="connsiteX8" fmla="*/ 2366010 w 2366010"/>
              <a:gd name="connsiteY8" fmla="*/ 256648 h 5136311"/>
              <a:gd name="connsiteX9" fmla="*/ 2366010 w 2366010"/>
              <a:gd name="connsiteY9" fmla="*/ 4891524 h 5136311"/>
              <a:gd name="connsiteX10" fmla="*/ 2121223 w 2366010"/>
              <a:gd name="connsiteY10" fmla="*/ 5136311 h 5136311"/>
              <a:gd name="connsiteX11" fmla="*/ 244787 w 2366010"/>
              <a:gd name="connsiteY11" fmla="*/ 5136311 h 5136311"/>
              <a:gd name="connsiteX12" fmla="*/ 0 w 2366010"/>
              <a:gd name="connsiteY12" fmla="*/ 4891524 h 5136311"/>
              <a:gd name="connsiteX13" fmla="*/ 0 w 2366010"/>
              <a:gd name="connsiteY13" fmla="*/ 256648 h 5136311"/>
              <a:gd name="connsiteX0" fmla="*/ 0 w 2366010"/>
              <a:gd name="connsiteY0" fmla="*/ 256648 h 5136311"/>
              <a:gd name="connsiteX1" fmla="*/ 237167 w 2366010"/>
              <a:gd name="connsiteY1" fmla="*/ 9321 h 5136311"/>
              <a:gd name="connsiteX2" fmla="*/ 520700 w 2366010"/>
              <a:gd name="connsiteY2" fmla="*/ 8052 h 5136311"/>
              <a:gd name="connsiteX3" fmla="*/ 727710 w 2366010"/>
              <a:gd name="connsiteY3" fmla="*/ 194741 h 5136311"/>
              <a:gd name="connsiteX4" fmla="*/ 1274918 w 2366010"/>
              <a:gd name="connsiteY4" fmla="*/ 194110 h 5136311"/>
              <a:gd name="connsiteX5" fmla="*/ 1753708 w 2366010"/>
              <a:gd name="connsiteY5" fmla="*/ 178874 h 5136311"/>
              <a:gd name="connsiteX6" fmla="*/ 1857213 w 2366010"/>
              <a:gd name="connsiteY6" fmla="*/ 10594 h 5136311"/>
              <a:gd name="connsiteX7" fmla="*/ 2133923 w 2366010"/>
              <a:gd name="connsiteY7" fmla="*/ 4245 h 5136311"/>
              <a:gd name="connsiteX8" fmla="*/ 2366010 w 2366010"/>
              <a:gd name="connsiteY8" fmla="*/ 256648 h 5136311"/>
              <a:gd name="connsiteX9" fmla="*/ 2366010 w 2366010"/>
              <a:gd name="connsiteY9" fmla="*/ 4891524 h 5136311"/>
              <a:gd name="connsiteX10" fmla="*/ 2121223 w 2366010"/>
              <a:gd name="connsiteY10" fmla="*/ 5136311 h 5136311"/>
              <a:gd name="connsiteX11" fmla="*/ 244787 w 2366010"/>
              <a:gd name="connsiteY11" fmla="*/ 5136311 h 5136311"/>
              <a:gd name="connsiteX12" fmla="*/ 0 w 2366010"/>
              <a:gd name="connsiteY12" fmla="*/ 4891524 h 5136311"/>
              <a:gd name="connsiteX13" fmla="*/ 0 w 2366010"/>
              <a:gd name="connsiteY13" fmla="*/ 256648 h 5136311"/>
              <a:gd name="connsiteX0" fmla="*/ 0 w 2366010"/>
              <a:gd name="connsiteY0" fmla="*/ 256648 h 5136311"/>
              <a:gd name="connsiteX1" fmla="*/ 237167 w 2366010"/>
              <a:gd name="connsiteY1" fmla="*/ 9321 h 5136311"/>
              <a:gd name="connsiteX2" fmla="*/ 520700 w 2366010"/>
              <a:gd name="connsiteY2" fmla="*/ 8052 h 5136311"/>
              <a:gd name="connsiteX3" fmla="*/ 727710 w 2366010"/>
              <a:gd name="connsiteY3" fmla="*/ 194741 h 5136311"/>
              <a:gd name="connsiteX4" fmla="*/ 1274918 w 2366010"/>
              <a:gd name="connsiteY4" fmla="*/ 194110 h 5136311"/>
              <a:gd name="connsiteX5" fmla="*/ 1753708 w 2366010"/>
              <a:gd name="connsiteY5" fmla="*/ 178874 h 5136311"/>
              <a:gd name="connsiteX6" fmla="*/ 1857213 w 2366010"/>
              <a:gd name="connsiteY6" fmla="*/ 10594 h 5136311"/>
              <a:gd name="connsiteX7" fmla="*/ 2133923 w 2366010"/>
              <a:gd name="connsiteY7" fmla="*/ 4245 h 5136311"/>
              <a:gd name="connsiteX8" fmla="*/ 2366010 w 2366010"/>
              <a:gd name="connsiteY8" fmla="*/ 256648 h 5136311"/>
              <a:gd name="connsiteX9" fmla="*/ 2366010 w 2366010"/>
              <a:gd name="connsiteY9" fmla="*/ 4891524 h 5136311"/>
              <a:gd name="connsiteX10" fmla="*/ 2121223 w 2366010"/>
              <a:gd name="connsiteY10" fmla="*/ 5136311 h 5136311"/>
              <a:gd name="connsiteX11" fmla="*/ 244787 w 2366010"/>
              <a:gd name="connsiteY11" fmla="*/ 5136311 h 5136311"/>
              <a:gd name="connsiteX12" fmla="*/ 0 w 2366010"/>
              <a:gd name="connsiteY12" fmla="*/ 4891524 h 5136311"/>
              <a:gd name="connsiteX13" fmla="*/ 0 w 2366010"/>
              <a:gd name="connsiteY13" fmla="*/ 256648 h 5136311"/>
              <a:gd name="connsiteX0" fmla="*/ 0 w 2366010"/>
              <a:gd name="connsiteY0" fmla="*/ 256648 h 5136311"/>
              <a:gd name="connsiteX1" fmla="*/ 237167 w 2366010"/>
              <a:gd name="connsiteY1" fmla="*/ 9321 h 5136311"/>
              <a:gd name="connsiteX2" fmla="*/ 520700 w 2366010"/>
              <a:gd name="connsiteY2" fmla="*/ 8052 h 5136311"/>
              <a:gd name="connsiteX3" fmla="*/ 727710 w 2366010"/>
              <a:gd name="connsiteY3" fmla="*/ 194741 h 5136311"/>
              <a:gd name="connsiteX4" fmla="*/ 1274918 w 2366010"/>
              <a:gd name="connsiteY4" fmla="*/ 194110 h 5136311"/>
              <a:gd name="connsiteX5" fmla="*/ 1753708 w 2366010"/>
              <a:gd name="connsiteY5" fmla="*/ 178874 h 5136311"/>
              <a:gd name="connsiteX6" fmla="*/ 1857213 w 2366010"/>
              <a:gd name="connsiteY6" fmla="*/ 10594 h 5136311"/>
              <a:gd name="connsiteX7" fmla="*/ 2133923 w 2366010"/>
              <a:gd name="connsiteY7" fmla="*/ 4245 h 5136311"/>
              <a:gd name="connsiteX8" fmla="*/ 2366010 w 2366010"/>
              <a:gd name="connsiteY8" fmla="*/ 256648 h 5136311"/>
              <a:gd name="connsiteX9" fmla="*/ 2366010 w 2366010"/>
              <a:gd name="connsiteY9" fmla="*/ 4891524 h 5136311"/>
              <a:gd name="connsiteX10" fmla="*/ 2121223 w 2366010"/>
              <a:gd name="connsiteY10" fmla="*/ 5136311 h 5136311"/>
              <a:gd name="connsiteX11" fmla="*/ 244787 w 2366010"/>
              <a:gd name="connsiteY11" fmla="*/ 5136311 h 5136311"/>
              <a:gd name="connsiteX12" fmla="*/ 0 w 2366010"/>
              <a:gd name="connsiteY12" fmla="*/ 4891524 h 5136311"/>
              <a:gd name="connsiteX13" fmla="*/ 0 w 2366010"/>
              <a:gd name="connsiteY13" fmla="*/ 256648 h 5136311"/>
              <a:gd name="connsiteX0" fmla="*/ 0 w 2366010"/>
              <a:gd name="connsiteY0" fmla="*/ 256648 h 5136311"/>
              <a:gd name="connsiteX1" fmla="*/ 237167 w 2366010"/>
              <a:gd name="connsiteY1" fmla="*/ 9321 h 5136311"/>
              <a:gd name="connsiteX2" fmla="*/ 520700 w 2366010"/>
              <a:gd name="connsiteY2" fmla="*/ 8052 h 5136311"/>
              <a:gd name="connsiteX3" fmla="*/ 727710 w 2366010"/>
              <a:gd name="connsiteY3" fmla="*/ 194741 h 5136311"/>
              <a:gd name="connsiteX4" fmla="*/ 1274918 w 2366010"/>
              <a:gd name="connsiteY4" fmla="*/ 194110 h 5136311"/>
              <a:gd name="connsiteX5" fmla="*/ 1758788 w 2366010"/>
              <a:gd name="connsiteY5" fmla="*/ 173797 h 5136311"/>
              <a:gd name="connsiteX6" fmla="*/ 1857213 w 2366010"/>
              <a:gd name="connsiteY6" fmla="*/ 10594 h 5136311"/>
              <a:gd name="connsiteX7" fmla="*/ 2133923 w 2366010"/>
              <a:gd name="connsiteY7" fmla="*/ 4245 h 5136311"/>
              <a:gd name="connsiteX8" fmla="*/ 2366010 w 2366010"/>
              <a:gd name="connsiteY8" fmla="*/ 256648 h 5136311"/>
              <a:gd name="connsiteX9" fmla="*/ 2366010 w 2366010"/>
              <a:gd name="connsiteY9" fmla="*/ 4891524 h 5136311"/>
              <a:gd name="connsiteX10" fmla="*/ 2121223 w 2366010"/>
              <a:gd name="connsiteY10" fmla="*/ 5136311 h 5136311"/>
              <a:gd name="connsiteX11" fmla="*/ 244787 w 2366010"/>
              <a:gd name="connsiteY11" fmla="*/ 5136311 h 5136311"/>
              <a:gd name="connsiteX12" fmla="*/ 0 w 2366010"/>
              <a:gd name="connsiteY12" fmla="*/ 4891524 h 5136311"/>
              <a:gd name="connsiteX13" fmla="*/ 0 w 2366010"/>
              <a:gd name="connsiteY13" fmla="*/ 256648 h 5136311"/>
              <a:gd name="connsiteX0" fmla="*/ 0 w 2366010"/>
              <a:gd name="connsiteY0" fmla="*/ 256648 h 5136311"/>
              <a:gd name="connsiteX1" fmla="*/ 237167 w 2366010"/>
              <a:gd name="connsiteY1" fmla="*/ 9321 h 5136311"/>
              <a:gd name="connsiteX2" fmla="*/ 520700 w 2366010"/>
              <a:gd name="connsiteY2" fmla="*/ 8052 h 5136311"/>
              <a:gd name="connsiteX3" fmla="*/ 732790 w 2366010"/>
              <a:gd name="connsiteY3" fmla="*/ 189664 h 5136311"/>
              <a:gd name="connsiteX4" fmla="*/ 1274918 w 2366010"/>
              <a:gd name="connsiteY4" fmla="*/ 194110 h 5136311"/>
              <a:gd name="connsiteX5" fmla="*/ 1758788 w 2366010"/>
              <a:gd name="connsiteY5" fmla="*/ 173797 h 5136311"/>
              <a:gd name="connsiteX6" fmla="*/ 1857213 w 2366010"/>
              <a:gd name="connsiteY6" fmla="*/ 10594 h 5136311"/>
              <a:gd name="connsiteX7" fmla="*/ 2133923 w 2366010"/>
              <a:gd name="connsiteY7" fmla="*/ 4245 h 5136311"/>
              <a:gd name="connsiteX8" fmla="*/ 2366010 w 2366010"/>
              <a:gd name="connsiteY8" fmla="*/ 256648 h 5136311"/>
              <a:gd name="connsiteX9" fmla="*/ 2366010 w 2366010"/>
              <a:gd name="connsiteY9" fmla="*/ 4891524 h 5136311"/>
              <a:gd name="connsiteX10" fmla="*/ 2121223 w 2366010"/>
              <a:gd name="connsiteY10" fmla="*/ 5136311 h 5136311"/>
              <a:gd name="connsiteX11" fmla="*/ 244787 w 2366010"/>
              <a:gd name="connsiteY11" fmla="*/ 5136311 h 5136311"/>
              <a:gd name="connsiteX12" fmla="*/ 0 w 2366010"/>
              <a:gd name="connsiteY12" fmla="*/ 4891524 h 5136311"/>
              <a:gd name="connsiteX13" fmla="*/ 0 w 2366010"/>
              <a:gd name="connsiteY13" fmla="*/ 256648 h 5136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366010" h="5136311">
                <a:moveTo>
                  <a:pt x="0" y="256648"/>
                </a:moveTo>
                <a:cubicBezTo>
                  <a:pt x="0" y="121456"/>
                  <a:pt x="101975" y="14401"/>
                  <a:pt x="237167" y="9321"/>
                </a:cubicBezTo>
                <a:cubicBezTo>
                  <a:pt x="333052" y="-1632"/>
                  <a:pt x="444023" y="-4013"/>
                  <a:pt x="520700" y="8052"/>
                </a:cubicBezTo>
                <a:cubicBezTo>
                  <a:pt x="570707" y="42977"/>
                  <a:pt x="486568" y="204269"/>
                  <a:pt x="732790" y="189664"/>
                </a:cubicBezTo>
                <a:cubicBezTo>
                  <a:pt x="889925" y="194321"/>
                  <a:pt x="1103918" y="196755"/>
                  <a:pt x="1274918" y="194110"/>
                </a:cubicBezTo>
                <a:cubicBezTo>
                  <a:pt x="1445918" y="191466"/>
                  <a:pt x="1661739" y="204383"/>
                  <a:pt x="1758788" y="173797"/>
                </a:cubicBezTo>
                <a:cubicBezTo>
                  <a:pt x="1855837" y="143211"/>
                  <a:pt x="1797125" y="37475"/>
                  <a:pt x="1857213" y="10594"/>
                </a:cubicBezTo>
                <a:cubicBezTo>
                  <a:pt x="1896981" y="-1049"/>
                  <a:pt x="2008907" y="688"/>
                  <a:pt x="2133923" y="4245"/>
                </a:cubicBezTo>
                <a:cubicBezTo>
                  <a:pt x="2258939" y="7802"/>
                  <a:pt x="2366010" y="121456"/>
                  <a:pt x="2366010" y="256648"/>
                </a:cubicBezTo>
                <a:lnTo>
                  <a:pt x="2366010" y="4891524"/>
                </a:lnTo>
                <a:cubicBezTo>
                  <a:pt x="2366010" y="5026716"/>
                  <a:pt x="2256415" y="5136311"/>
                  <a:pt x="2121223" y="5136311"/>
                </a:cubicBezTo>
                <a:lnTo>
                  <a:pt x="244787" y="5136311"/>
                </a:lnTo>
                <a:cubicBezTo>
                  <a:pt x="109595" y="5136311"/>
                  <a:pt x="0" y="5026716"/>
                  <a:pt x="0" y="4891524"/>
                </a:cubicBezTo>
                <a:lnTo>
                  <a:pt x="0" y="256648"/>
                </a:lnTo>
                <a:close/>
              </a:path>
            </a:pathLst>
          </a:custGeom>
          <a:solidFill>
            <a:schemeClr val="tx1"/>
          </a:solidFill>
        </p:spPr>
        <p:txBody>
          <a:bodyPr lIns="252000" tIns="612000" bIns="90000" anchor="t">
            <a:normAutofit/>
          </a:bodyPr>
          <a:lstStyle>
            <a:lvl1pPr marL="0" indent="0" algn="l">
              <a:buNone/>
              <a:defRPr lang="fr-FR" sz="28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Click </a:t>
            </a:r>
            <a:br>
              <a:rPr lang="fr-FR"/>
            </a:br>
            <a:r>
              <a:rPr lang="fr-FR"/>
              <a:t>to </a:t>
            </a:r>
            <a:r>
              <a:rPr lang="fr-FR" err="1"/>
              <a:t>add</a:t>
            </a:r>
            <a:r>
              <a:rPr lang="fr-FR"/>
              <a:t> </a:t>
            </a:r>
            <a:br>
              <a:rPr lang="fr-FR"/>
            </a:br>
            <a:r>
              <a:rPr lang="fr-FR"/>
              <a:t>a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203605E-5D0F-0A47-8156-70BCC750E7E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92952" y="1557838"/>
            <a:ext cx="5184648" cy="4385761"/>
          </a:xfrm>
        </p:spPr>
        <p:txBody>
          <a:bodyPr anchor="ctr" anchorCtr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89A17DF-BECD-FB48-B32C-50463D55D8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952" y="265176"/>
            <a:ext cx="5641848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26471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X Zo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086ECA9-C582-E14A-B9CB-1EAC4F388DF8}"/>
              </a:ext>
            </a:extLst>
          </p:cNvPr>
          <p:cNvSpPr/>
          <p:nvPr userDrawn="1"/>
        </p:nvSpPr>
        <p:spPr>
          <a:xfrm>
            <a:off x="0" y="0"/>
            <a:ext cx="373075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15AFEC-B582-BD42-ABD9-E3C317BA13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926"/>
          <a:stretch/>
        </p:blipFill>
        <p:spPr>
          <a:xfrm>
            <a:off x="665252" y="957581"/>
            <a:ext cx="4700829" cy="5900419"/>
          </a:xfrm>
          <a:prstGeom prst="rect">
            <a:avLst/>
          </a:prstGeom>
          <a:effectLst>
            <a:outerShdw blurRad="444500" dist="127000" dir="5400000" algn="t" rotWithShape="0">
              <a:prstClr val="black">
                <a:alpha val="30000"/>
              </a:prstClr>
            </a:outerShdw>
          </a:effectLst>
        </p:spPr>
      </p:pic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1908C951-434A-4DD1-AFA3-1AF87D70474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103086" y="1534810"/>
            <a:ext cx="3795555" cy="5334729"/>
          </a:xfrm>
          <a:custGeom>
            <a:avLst/>
            <a:gdLst>
              <a:gd name="connsiteX0" fmla="*/ 0 w 2366010"/>
              <a:gd name="connsiteY0" fmla="*/ 244787 h 5124450"/>
              <a:gd name="connsiteX1" fmla="*/ 244787 w 2366010"/>
              <a:gd name="connsiteY1" fmla="*/ 0 h 5124450"/>
              <a:gd name="connsiteX2" fmla="*/ 2121223 w 2366010"/>
              <a:gd name="connsiteY2" fmla="*/ 0 h 5124450"/>
              <a:gd name="connsiteX3" fmla="*/ 2366010 w 2366010"/>
              <a:gd name="connsiteY3" fmla="*/ 244787 h 5124450"/>
              <a:gd name="connsiteX4" fmla="*/ 2366010 w 2366010"/>
              <a:gd name="connsiteY4" fmla="*/ 4879663 h 5124450"/>
              <a:gd name="connsiteX5" fmla="*/ 2121223 w 2366010"/>
              <a:gd name="connsiteY5" fmla="*/ 5124450 h 5124450"/>
              <a:gd name="connsiteX6" fmla="*/ 244787 w 2366010"/>
              <a:gd name="connsiteY6" fmla="*/ 5124450 h 5124450"/>
              <a:gd name="connsiteX7" fmla="*/ 0 w 2366010"/>
              <a:gd name="connsiteY7" fmla="*/ 4879663 h 5124450"/>
              <a:gd name="connsiteX8" fmla="*/ 0 w 2366010"/>
              <a:gd name="connsiteY8" fmla="*/ 244787 h 5124450"/>
              <a:gd name="connsiteX0" fmla="*/ 0 w 2366010"/>
              <a:gd name="connsiteY0" fmla="*/ 244793 h 5124456"/>
              <a:gd name="connsiteX1" fmla="*/ 244787 w 2366010"/>
              <a:gd name="connsiteY1" fmla="*/ 6 h 5124456"/>
              <a:gd name="connsiteX2" fmla="*/ 659130 w 2366010"/>
              <a:gd name="connsiteY2" fmla="*/ 186696 h 5124456"/>
              <a:gd name="connsiteX3" fmla="*/ 2121223 w 2366010"/>
              <a:gd name="connsiteY3" fmla="*/ 6 h 5124456"/>
              <a:gd name="connsiteX4" fmla="*/ 2366010 w 2366010"/>
              <a:gd name="connsiteY4" fmla="*/ 244793 h 5124456"/>
              <a:gd name="connsiteX5" fmla="*/ 2366010 w 2366010"/>
              <a:gd name="connsiteY5" fmla="*/ 4879669 h 5124456"/>
              <a:gd name="connsiteX6" fmla="*/ 2121223 w 2366010"/>
              <a:gd name="connsiteY6" fmla="*/ 5124456 h 5124456"/>
              <a:gd name="connsiteX7" fmla="*/ 244787 w 2366010"/>
              <a:gd name="connsiteY7" fmla="*/ 5124456 h 5124456"/>
              <a:gd name="connsiteX8" fmla="*/ 0 w 2366010"/>
              <a:gd name="connsiteY8" fmla="*/ 4879669 h 5124456"/>
              <a:gd name="connsiteX9" fmla="*/ 0 w 2366010"/>
              <a:gd name="connsiteY9" fmla="*/ 244793 h 5124456"/>
              <a:gd name="connsiteX0" fmla="*/ 0 w 2366010"/>
              <a:gd name="connsiteY0" fmla="*/ 244794 h 5124457"/>
              <a:gd name="connsiteX1" fmla="*/ 244787 w 2366010"/>
              <a:gd name="connsiteY1" fmla="*/ 7 h 5124457"/>
              <a:gd name="connsiteX2" fmla="*/ 659130 w 2366010"/>
              <a:gd name="connsiteY2" fmla="*/ 186697 h 5124457"/>
              <a:gd name="connsiteX3" fmla="*/ 2121223 w 2366010"/>
              <a:gd name="connsiteY3" fmla="*/ 7 h 5124457"/>
              <a:gd name="connsiteX4" fmla="*/ 2366010 w 2366010"/>
              <a:gd name="connsiteY4" fmla="*/ 244794 h 5124457"/>
              <a:gd name="connsiteX5" fmla="*/ 2366010 w 2366010"/>
              <a:gd name="connsiteY5" fmla="*/ 4879670 h 5124457"/>
              <a:gd name="connsiteX6" fmla="*/ 2121223 w 2366010"/>
              <a:gd name="connsiteY6" fmla="*/ 5124457 h 5124457"/>
              <a:gd name="connsiteX7" fmla="*/ 244787 w 2366010"/>
              <a:gd name="connsiteY7" fmla="*/ 5124457 h 5124457"/>
              <a:gd name="connsiteX8" fmla="*/ 0 w 2366010"/>
              <a:gd name="connsiteY8" fmla="*/ 4879670 h 5124457"/>
              <a:gd name="connsiteX9" fmla="*/ 0 w 2366010"/>
              <a:gd name="connsiteY9" fmla="*/ 244794 h 5124457"/>
              <a:gd name="connsiteX0" fmla="*/ 0 w 2366010"/>
              <a:gd name="connsiteY0" fmla="*/ 253683 h 5133346"/>
              <a:gd name="connsiteX1" fmla="*/ 244787 w 2366010"/>
              <a:gd name="connsiteY1" fmla="*/ 8896 h 5133346"/>
              <a:gd name="connsiteX2" fmla="*/ 502920 w 2366010"/>
              <a:gd name="connsiteY2" fmla="*/ 50807 h 5133346"/>
              <a:gd name="connsiteX3" fmla="*/ 659130 w 2366010"/>
              <a:gd name="connsiteY3" fmla="*/ 195586 h 5133346"/>
              <a:gd name="connsiteX4" fmla="*/ 2121223 w 2366010"/>
              <a:gd name="connsiteY4" fmla="*/ 8896 h 5133346"/>
              <a:gd name="connsiteX5" fmla="*/ 2366010 w 2366010"/>
              <a:gd name="connsiteY5" fmla="*/ 253683 h 5133346"/>
              <a:gd name="connsiteX6" fmla="*/ 2366010 w 2366010"/>
              <a:gd name="connsiteY6" fmla="*/ 4888559 h 5133346"/>
              <a:gd name="connsiteX7" fmla="*/ 2121223 w 2366010"/>
              <a:gd name="connsiteY7" fmla="*/ 5133346 h 5133346"/>
              <a:gd name="connsiteX8" fmla="*/ 244787 w 2366010"/>
              <a:gd name="connsiteY8" fmla="*/ 5133346 h 5133346"/>
              <a:gd name="connsiteX9" fmla="*/ 0 w 2366010"/>
              <a:gd name="connsiteY9" fmla="*/ 4888559 h 5133346"/>
              <a:gd name="connsiteX10" fmla="*/ 0 w 2366010"/>
              <a:gd name="connsiteY10" fmla="*/ 253683 h 5133346"/>
              <a:gd name="connsiteX0" fmla="*/ 0 w 2366010"/>
              <a:gd name="connsiteY0" fmla="*/ 253683 h 5133346"/>
              <a:gd name="connsiteX1" fmla="*/ 244787 w 2366010"/>
              <a:gd name="connsiteY1" fmla="*/ 8896 h 5133346"/>
              <a:gd name="connsiteX2" fmla="*/ 502920 w 2366010"/>
              <a:gd name="connsiteY2" fmla="*/ 50807 h 5133346"/>
              <a:gd name="connsiteX3" fmla="*/ 659130 w 2366010"/>
              <a:gd name="connsiteY3" fmla="*/ 195586 h 5133346"/>
              <a:gd name="connsiteX4" fmla="*/ 2121223 w 2366010"/>
              <a:gd name="connsiteY4" fmla="*/ 8896 h 5133346"/>
              <a:gd name="connsiteX5" fmla="*/ 2366010 w 2366010"/>
              <a:gd name="connsiteY5" fmla="*/ 253683 h 5133346"/>
              <a:gd name="connsiteX6" fmla="*/ 2366010 w 2366010"/>
              <a:gd name="connsiteY6" fmla="*/ 4888559 h 5133346"/>
              <a:gd name="connsiteX7" fmla="*/ 2121223 w 2366010"/>
              <a:gd name="connsiteY7" fmla="*/ 5133346 h 5133346"/>
              <a:gd name="connsiteX8" fmla="*/ 244787 w 2366010"/>
              <a:gd name="connsiteY8" fmla="*/ 5133346 h 5133346"/>
              <a:gd name="connsiteX9" fmla="*/ 0 w 2366010"/>
              <a:gd name="connsiteY9" fmla="*/ 4888559 h 5133346"/>
              <a:gd name="connsiteX10" fmla="*/ 0 w 2366010"/>
              <a:gd name="connsiteY10" fmla="*/ 253683 h 5133346"/>
              <a:gd name="connsiteX0" fmla="*/ 0 w 2366010"/>
              <a:gd name="connsiteY0" fmla="*/ 253683 h 5133346"/>
              <a:gd name="connsiteX1" fmla="*/ 244787 w 2366010"/>
              <a:gd name="connsiteY1" fmla="*/ 8896 h 5133346"/>
              <a:gd name="connsiteX2" fmla="*/ 502920 w 2366010"/>
              <a:gd name="connsiteY2" fmla="*/ 50807 h 5133346"/>
              <a:gd name="connsiteX3" fmla="*/ 735330 w 2366010"/>
              <a:gd name="connsiteY3" fmla="*/ 195586 h 5133346"/>
              <a:gd name="connsiteX4" fmla="*/ 2121223 w 2366010"/>
              <a:gd name="connsiteY4" fmla="*/ 8896 h 5133346"/>
              <a:gd name="connsiteX5" fmla="*/ 2366010 w 2366010"/>
              <a:gd name="connsiteY5" fmla="*/ 253683 h 5133346"/>
              <a:gd name="connsiteX6" fmla="*/ 2366010 w 2366010"/>
              <a:gd name="connsiteY6" fmla="*/ 4888559 h 5133346"/>
              <a:gd name="connsiteX7" fmla="*/ 2121223 w 2366010"/>
              <a:gd name="connsiteY7" fmla="*/ 5133346 h 5133346"/>
              <a:gd name="connsiteX8" fmla="*/ 244787 w 2366010"/>
              <a:gd name="connsiteY8" fmla="*/ 5133346 h 5133346"/>
              <a:gd name="connsiteX9" fmla="*/ 0 w 2366010"/>
              <a:gd name="connsiteY9" fmla="*/ 4888559 h 5133346"/>
              <a:gd name="connsiteX10" fmla="*/ 0 w 2366010"/>
              <a:gd name="connsiteY10" fmla="*/ 253683 h 5133346"/>
              <a:gd name="connsiteX0" fmla="*/ 0 w 2366010"/>
              <a:gd name="connsiteY0" fmla="*/ 259704 h 5139367"/>
              <a:gd name="connsiteX1" fmla="*/ 244787 w 2366010"/>
              <a:gd name="connsiteY1" fmla="*/ 14917 h 5139367"/>
              <a:gd name="connsiteX2" fmla="*/ 499110 w 2366010"/>
              <a:gd name="connsiteY2" fmla="*/ 30158 h 5139367"/>
              <a:gd name="connsiteX3" fmla="*/ 735330 w 2366010"/>
              <a:gd name="connsiteY3" fmla="*/ 201607 h 5139367"/>
              <a:gd name="connsiteX4" fmla="*/ 2121223 w 2366010"/>
              <a:gd name="connsiteY4" fmla="*/ 14917 h 5139367"/>
              <a:gd name="connsiteX5" fmla="*/ 2366010 w 2366010"/>
              <a:gd name="connsiteY5" fmla="*/ 259704 h 5139367"/>
              <a:gd name="connsiteX6" fmla="*/ 2366010 w 2366010"/>
              <a:gd name="connsiteY6" fmla="*/ 4894580 h 5139367"/>
              <a:gd name="connsiteX7" fmla="*/ 2121223 w 2366010"/>
              <a:gd name="connsiteY7" fmla="*/ 5139367 h 5139367"/>
              <a:gd name="connsiteX8" fmla="*/ 244787 w 2366010"/>
              <a:gd name="connsiteY8" fmla="*/ 5139367 h 5139367"/>
              <a:gd name="connsiteX9" fmla="*/ 0 w 2366010"/>
              <a:gd name="connsiteY9" fmla="*/ 4894580 h 5139367"/>
              <a:gd name="connsiteX10" fmla="*/ 0 w 2366010"/>
              <a:gd name="connsiteY10" fmla="*/ 259704 h 5139367"/>
              <a:gd name="connsiteX0" fmla="*/ 0 w 2366010"/>
              <a:gd name="connsiteY0" fmla="*/ 255334 h 5134997"/>
              <a:gd name="connsiteX1" fmla="*/ 244787 w 2366010"/>
              <a:gd name="connsiteY1" fmla="*/ 10547 h 5134997"/>
              <a:gd name="connsiteX2" fmla="*/ 499110 w 2366010"/>
              <a:gd name="connsiteY2" fmla="*/ 25788 h 5134997"/>
              <a:gd name="connsiteX3" fmla="*/ 735330 w 2366010"/>
              <a:gd name="connsiteY3" fmla="*/ 197237 h 5134997"/>
              <a:gd name="connsiteX4" fmla="*/ 2121223 w 2366010"/>
              <a:gd name="connsiteY4" fmla="*/ 10547 h 5134997"/>
              <a:gd name="connsiteX5" fmla="*/ 2366010 w 2366010"/>
              <a:gd name="connsiteY5" fmla="*/ 255334 h 5134997"/>
              <a:gd name="connsiteX6" fmla="*/ 2366010 w 2366010"/>
              <a:gd name="connsiteY6" fmla="*/ 4890210 h 5134997"/>
              <a:gd name="connsiteX7" fmla="*/ 2121223 w 2366010"/>
              <a:gd name="connsiteY7" fmla="*/ 5134997 h 5134997"/>
              <a:gd name="connsiteX8" fmla="*/ 244787 w 2366010"/>
              <a:gd name="connsiteY8" fmla="*/ 5134997 h 5134997"/>
              <a:gd name="connsiteX9" fmla="*/ 0 w 2366010"/>
              <a:gd name="connsiteY9" fmla="*/ 4890210 h 5134997"/>
              <a:gd name="connsiteX10" fmla="*/ 0 w 2366010"/>
              <a:gd name="connsiteY10" fmla="*/ 255334 h 5134997"/>
              <a:gd name="connsiteX0" fmla="*/ 0 w 2366010"/>
              <a:gd name="connsiteY0" fmla="*/ 255334 h 5134997"/>
              <a:gd name="connsiteX1" fmla="*/ 244787 w 2366010"/>
              <a:gd name="connsiteY1" fmla="*/ 10547 h 5134997"/>
              <a:gd name="connsiteX2" fmla="*/ 499110 w 2366010"/>
              <a:gd name="connsiteY2" fmla="*/ 25788 h 5134997"/>
              <a:gd name="connsiteX3" fmla="*/ 731520 w 2366010"/>
              <a:gd name="connsiteY3" fmla="*/ 193427 h 5134997"/>
              <a:gd name="connsiteX4" fmla="*/ 2121223 w 2366010"/>
              <a:gd name="connsiteY4" fmla="*/ 10547 h 5134997"/>
              <a:gd name="connsiteX5" fmla="*/ 2366010 w 2366010"/>
              <a:gd name="connsiteY5" fmla="*/ 255334 h 5134997"/>
              <a:gd name="connsiteX6" fmla="*/ 2366010 w 2366010"/>
              <a:gd name="connsiteY6" fmla="*/ 4890210 h 5134997"/>
              <a:gd name="connsiteX7" fmla="*/ 2121223 w 2366010"/>
              <a:gd name="connsiteY7" fmla="*/ 5134997 h 5134997"/>
              <a:gd name="connsiteX8" fmla="*/ 244787 w 2366010"/>
              <a:gd name="connsiteY8" fmla="*/ 5134997 h 5134997"/>
              <a:gd name="connsiteX9" fmla="*/ 0 w 2366010"/>
              <a:gd name="connsiteY9" fmla="*/ 4890210 h 5134997"/>
              <a:gd name="connsiteX10" fmla="*/ 0 w 2366010"/>
              <a:gd name="connsiteY10" fmla="*/ 255334 h 5134997"/>
              <a:gd name="connsiteX0" fmla="*/ 0 w 2366010"/>
              <a:gd name="connsiteY0" fmla="*/ 258273 h 5137936"/>
              <a:gd name="connsiteX1" fmla="*/ 244787 w 2366010"/>
              <a:gd name="connsiteY1" fmla="*/ 13486 h 5137936"/>
              <a:gd name="connsiteX2" fmla="*/ 510540 w 2366010"/>
              <a:gd name="connsiteY2" fmla="*/ 17297 h 5137936"/>
              <a:gd name="connsiteX3" fmla="*/ 731520 w 2366010"/>
              <a:gd name="connsiteY3" fmla="*/ 196366 h 5137936"/>
              <a:gd name="connsiteX4" fmla="*/ 2121223 w 2366010"/>
              <a:gd name="connsiteY4" fmla="*/ 13486 h 5137936"/>
              <a:gd name="connsiteX5" fmla="*/ 2366010 w 2366010"/>
              <a:gd name="connsiteY5" fmla="*/ 258273 h 5137936"/>
              <a:gd name="connsiteX6" fmla="*/ 2366010 w 2366010"/>
              <a:gd name="connsiteY6" fmla="*/ 4893149 h 5137936"/>
              <a:gd name="connsiteX7" fmla="*/ 2121223 w 2366010"/>
              <a:gd name="connsiteY7" fmla="*/ 5137936 h 5137936"/>
              <a:gd name="connsiteX8" fmla="*/ 244787 w 2366010"/>
              <a:gd name="connsiteY8" fmla="*/ 5137936 h 5137936"/>
              <a:gd name="connsiteX9" fmla="*/ 0 w 2366010"/>
              <a:gd name="connsiteY9" fmla="*/ 4893149 h 5137936"/>
              <a:gd name="connsiteX10" fmla="*/ 0 w 2366010"/>
              <a:gd name="connsiteY10" fmla="*/ 258273 h 5137936"/>
              <a:gd name="connsiteX0" fmla="*/ 0 w 2366010"/>
              <a:gd name="connsiteY0" fmla="*/ 258273 h 5137936"/>
              <a:gd name="connsiteX1" fmla="*/ 244787 w 2366010"/>
              <a:gd name="connsiteY1" fmla="*/ 13486 h 5137936"/>
              <a:gd name="connsiteX2" fmla="*/ 510540 w 2366010"/>
              <a:gd name="connsiteY2" fmla="*/ 17297 h 5137936"/>
              <a:gd name="connsiteX3" fmla="*/ 731520 w 2366010"/>
              <a:gd name="connsiteY3" fmla="*/ 196366 h 5137936"/>
              <a:gd name="connsiteX4" fmla="*/ 2121223 w 2366010"/>
              <a:gd name="connsiteY4" fmla="*/ 13486 h 5137936"/>
              <a:gd name="connsiteX5" fmla="*/ 2366010 w 2366010"/>
              <a:gd name="connsiteY5" fmla="*/ 258273 h 5137936"/>
              <a:gd name="connsiteX6" fmla="*/ 2366010 w 2366010"/>
              <a:gd name="connsiteY6" fmla="*/ 4893149 h 5137936"/>
              <a:gd name="connsiteX7" fmla="*/ 2121223 w 2366010"/>
              <a:gd name="connsiteY7" fmla="*/ 5137936 h 5137936"/>
              <a:gd name="connsiteX8" fmla="*/ 244787 w 2366010"/>
              <a:gd name="connsiteY8" fmla="*/ 5137936 h 5137936"/>
              <a:gd name="connsiteX9" fmla="*/ 0 w 2366010"/>
              <a:gd name="connsiteY9" fmla="*/ 4893149 h 5137936"/>
              <a:gd name="connsiteX10" fmla="*/ 0 w 2366010"/>
              <a:gd name="connsiteY10" fmla="*/ 258273 h 5137936"/>
              <a:gd name="connsiteX0" fmla="*/ 0 w 2366010"/>
              <a:gd name="connsiteY0" fmla="*/ 258273 h 5137936"/>
              <a:gd name="connsiteX1" fmla="*/ 244787 w 2366010"/>
              <a:gd name="connsiteY1" fmla="*/ 13486 h 5137936"/>
              <a:gd name="connsiteX2" fmla="*/ 510540 w 2366010"/>
              <a:gd name="connsiteY2" fmla="*/ 17297 h 5137936"/>
              <a:gd name="connsiteX3" fmla="*/ 739140 w 2366010"/>
              <a:gd name="connsiteY3" fmla="*/ 196366 h 5137936"/>
              <a:gd name="connsiteX4" fmla="*/ 2121223 w 2366010"/>
              <a:gd name="connsiteY4" fmla="*/ 13486 h 5137936"/>
              <a:gd name="connsiteX5" fmla="*/ 2366010 w 2366010"/>
              <a:gd name="connsiteY5" fmla="*/ 258273 h 5137936"/>
              <a:gd name="connsiteX6" fmla="*/ 2366010 w 2366010"/>
              <a:gd name="connsiteY6" fmla="*/ 4893149 h 5137936"/>
              <a:gd name="connsiteX7" fmla="*/ 2121223 w 2366010"/>
              <a:gd name="connsiteY7" fmla="*/ 5137936 h 5137936"/>
              <a:gd name="connsiteX8" fmla="*/ 244787 w 2366010"/>
              <a:gd name="connsiteY8" fmla="*/ 5137936 h 5137936"/>
              <a:gd name="connsiteX9" fmla="*/ 0 w 2366010"/>
              <a:gd name="connsiteY9" fmla="*/ 4893149 h 5137936"/>
              <a:gd name="connsiteX10" fmla="*/ 0 w 2366010"/>
              <a:gd name="connsiteY10" fmla="*/ 258273 h 5137936"/>
              <a:gd name="connsiteX0" fmla="*/ 0 w 2366010"/>
              <a:gd name="connsiteY0" fmla="*/ 258273 h 5137936"/>
              <a:gd name="connsiteX1" fmla="*/ 244787 w 2366010"/>
              <a:gd name="connsiteY1" fmla="*/ 13486 h 5137936"/>
              <a:gd name="connsiteX2" fmla="*/ 510540 w 2366010"/>
              <a:gd name="connsiteY2" fmla="*/ 17297 h 5137936"/>
              <a:gd name="connsiteX3" fmla="*/ 739140 w 2366010"/>
              <a:gd name="connsiteY3" fmla="*/ 196366 h 5137936"/>
              <a:gd name="connsiteX4" fmla="*/ 2121223 w 2366010"/>
              <a:gd name="connsiteY4" fmla="*/ 13486 h 5137936"/>
              <a:gd name="connsiteX5" fmla="*/ 2366010 w 2366010"/>
              <a:gd name="connsiteY5" fmla="*/ 258273 h 5137936"/>
              <a:gd name="connsiteX6" fmla="*/ 2366010 w 2366010"/>
              <a:gd name="connsiteY6" fmla="*/ 4893149 h 5137936"/>
              <a:gd name="connsiteX7" fmla="*/ 2121223 w 2366010"/>
              <a:gd name="connsiteY7" fmla="*/ 5137936 h 5137936"/>
              <a:gd name="connsiteX8" fmla="*/ 244787 w 2366010"/>
              <a:gd name="connsiteY8" fmla="*/ 5137936 h 5137936"/>
              <a:gd name="connsiteX9" fmla="*/ 0 w 2366010"/>
              <a:gd name="connsiteY9" fmla="*/ 4893149 h 5137936"/>
              <a:gd name="connsiteX10" fmla="*/ 0 w 2366010"/>
              <a:gd name="connsiteY10" fmla="*/ 258273 h 5137936"/>
              <a:gd name="connsiteX0" fmla="*/ 0 w 2366010"/>
              <a:gd name="connsiteY0" fmla="*/ 251685 h 5131348"/>
              <a:gd name="connsiteX1" fmla="*/ 244787 w 2366010"/>
              <a:gd name="connsiteY1" fmla="*/ 6898 h 5131348"/>
              <a:gd name="connsiteX2" fmla="*/ 510540 w 2366010"/>
              <a:gd name="connsiteY2" fmla="*/ 10709 h 5131348"/>
              <a:gd name="connsiteX3" fmla="*/ 739140 w 2366010"/>
              <a:gd name="connsiteY3" fmla="*/ 189778 h 5131348"/>
              <a:gd name="connsiteX4" fmla="*/ 2121223 w 2366010"/>
              <a:gd name="connsiteY4" fmla="*/ 6898 h 5131348"/>
              <a:gd name="connsiteX5" fmla="*/ 2366010 w 2366010"/>
              <a:gd name="connsiteY5" fmla="*/ 251685 h 5131348"/>
              <a:gd name="connsiteX6" fmla="*/ 2366010 w 2366010"/>
              <a:gd name="connsiteY6" fmla="*/ 4886561 h 5131348"/>
              <a:gd name="connsiteX7" fmla="*/ 2121223 w 2366010"/>
              <a:gd name="connsiteY7" fmla="*/ 5131348 h 5131348"/>
              <a:gd name="connsiteX8" fmla="*/ 244787 w 2366010"/>
              <a:gd name="connsiteY8" fmla="*/ 5131348 h 5131348"/>
              <a:gd name="connsiteX9" fmla="*/ 0 w 2366010"/>
              <a:gd name="connsiteY9" fmla="*/ 4886561 h 5131348"/>
              <a:gd name="connsiteX10" fmla="*/ 0 w 2366010"/>
              <a:gd name="connsiteY10" fmla="*/ 251685 h 5131348"/>
              <a:gd name="connsiteX0" fmla="*/ 0 w 2366010"/>
              <a:gd name="connsiteY0" fmla="*/ 251685 h 5131348"/>
              <a:gd name="connsiteX1" fmla="*/ 244787 w 2366010"/>
              <a:gd name="connsiteY1" fmla="*/ 6898 h 5131348"/>
              <a:gd name="connsiteX2" fmla="*/ 510540 w 2366010"/>
              <a:gd name="connsiteY2" fmla="*/ 10709 h 5131348"/>
              <a:gd name="connsiteX3" fmla="*/ 727710 w 2366010"/>
              <a:gd name="connsiteY3" fmla="*/ 189778 h 5131348"/>
              <a:gd name="connsiteX4" fmla="*/ 2121223 w 2366010"/>
              <a:gd name="connsiteY4" fmla="*/ 6898 h 5131348"/>
              <a:gd name="connsiteX5" fmla="*/ 2366010 w 2366010"/>
              <a:gd name="connsiteY5" fmla="*/ 251685 h 5131348"/>
              <a:gd name="connsiteX6" fmla="*/ 2366010 w 2366010"/>
              <a:gd name="connsiteY6" fmla="*/ 4886561 h 5131348"/>
              <a:gd name="connsiteX7" fmla="*/ 2121223 w 2366010"/>
              <a:gd name="connsiteY7" fmla="*/ 5131348 h 5131348"/>
              <a:gd name="connsiteX8" fmla="*/ 244787 w 2366010"/>
              <a:gd name="connsiteY8" fmla="*/ 5131348 h 5131348"/>
              <a:gd name="connsiteX9" fmla="*/ 0 w 2366010"/>
              <a:gd name="connsiteY9" fmla="*/ 4886561 h 5131348"/>
              <a:gd name="connsiteX10" fmla="*/ 0 w 2366010"/>
              <a:gd name="connsiteY10" fmla="*/ 251685 h 5131348"/>
              <a:gd name="connsiteX0" fmla="*/ 0 w 2366010"/>
              <a:gd name="connsiteY0" fmla="*/ 255624 h 5135287"/>
              <a:gd name="connsiteX1" fmla="*/ 244787 w 2366010"/>
              <a:gd name="connsiteY1" fmla="*/ 10837 h 5135287"/>
              <a:gd name="connsiteX2" fmla="*/ 520700 w 2366010"/>
              <a:gd name="connsiteY2" fmla="*/ 7028 h 5135287"/>
              <a:gd name="connsiteX3" fmla="*/ 727710 w 2366010"/>
              <a:gd name="connsiteY3" fmla="*/ 193717 h 5135287"/>
              <a:gd name="connsiteX4" fmla="*/ 2121223 w 2366010"/>
              <a:gd name="connsiteY4" fmla="*/ 10837 h 5135287"/>
              <a:gd name="connsiteX5" fmla="*/ 2366010 w 2366010"/>
              <a:gd name="connsiteY5" fmla="*/ 255624 h 5135287"/>
              <a:gd name="connsiteX6" fmla="*/ 2366010 w 2366010"/>
              <a:gd name="connsiteY6" fmla="*/ 4890500 h 5135287"/>
              <a:gd name="connsiteX7" fmla="*/ 2121223 w 2366010"/>
              <a:gd name="connsiteY7" fmla="*/ 5135287 h 5135287"/>
              <a:gd name="connsiteX8" fmla="*/ 244787 w 2366010"/>
              <a:gd name="connsiteY8" fmla="*/ 5135287 h 5135287"/>
              <a:gd name="connsiteX9" fmla="*/ 0 w 2366010"/>
              <a:gd name="connsiteY9" fmla="*/ 4890500 h 5135287"/>
              <a:gd name="connsiteX10" fmla="*/ 0 w 2366010"/>
              <a:gd name="connsiteY10" fmla="*/ 255624 h 5135287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2121223 w 2366010"/>
              <a:gd name="connsiteY4" fmla="*/ 11860 h 5136310"/>
              <a:gd name="connsiteX5" fmla="*/ 2366010 w 2366010"/>
              <a:gd name="connsiteY5" fmla="*/ 256647 h 5136310"/>
              <a:gd name="connsiteX6" fmla="*/ 2366010 w 2366010"/>
              <a:gd name="connsiteY6" fmla="*/ 4891523 h 5136310"/>
              <a:gd name="connsiteX7" fmla="*/ 2121223 w 2366010"/>
              <a:gd name="connsiteY7" fmla="*/ 5136310 h 5136310"/>
              <a:gd name="connsiteX8" fmla="*/ 244787 w 2366010"/>
              <a:gd name="connsiteY8" fmla="*/ 5136310 h 5136310"/>
              <a:gd name="connsiteX9" fmla="*/ 0 w 2366010"/>
              <a:gd name="connsiteY9" fmla="*/ 4891523 h 5136310"/>
              <a:gd name="connsiteX10" fmla="*/ 0 w 2366010"/>
              <a:gd name="connsiteY10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2121223 w 2366010"/>
              <a:gd name="connsiteY4" fmla="*/ 11860 h 5136310"/>
              <a:gd name="connsiteX5" fmla="*/ 2366010 w 2366010"/>
              <a:gd name="connsiteY5" fmla="*/ 256647 h 5136310"/>
              <a:gd name="connsiteX6" fmla="*/ 2366010 w 2366010"/>
              <a:gd name="connsiteY6" fmla="*/ 4891523 h 5136310"/>
              <a:gd name="connsiteX7" fmla="*/ 2121223 w 2366010"/>
              <a:gd name="connsiteY7" fmla="*/ 5136310 h 5136310"/>
              <a:gd name="connsiteX8" fmla="*/ 244787 w 2366010"/>
              <a:gd name="connsiteY8" fmla="*/ 5136310 h 5136310"/>
              <a:gd name="connsiteX9" fmla="*/ 0 w 2366010"/>
              <a:gd name="connsiteY9" fmla="*/ 4891523 h 5136310"/>
              <a:gd name="connsiteX10" fmla="*/ 0 w 2366010"/>
              <a:gd name="connsiteY10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2381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1758153 w 2366010"/>
              <a:gd name="connsiteY5" fmla="*/ 137593 h 5136310"/>
              <a:gd name="connsiteX6" fmla="*/ 2121223 w 2366010"/>
              <a:gd name="connsiteY6" fmla="*/ 11860 h 5136310"/>
              <a:gd name="connsiteX7" fmla="*/ 2366010 w 2366010"/>
              <a:gd name="connsiteY7" fmla="*/ 256647 h 5136310"/>
              <a:gd name="connsiteX8" fmla="*/ 2366010 w 2366010"/>
              <a:gd name="connsiteY8" fmla="*/ 4891523 h 5136310"/>
              <a:gd name="connsiteX9" fmla="*/ 2121223 w 2366010"/>
              <a:gd name="connsiteY9" fmla="*/ 5136310 h 5136310"/>
              <a:gd name="connsiteX10" fmla="*/ 244787 w 2366010"/>
              <a:gd name="connsiteY10" fmla="*/ 5136310 h 5136310"/>
              <a:gd name="connsiteX11" fmla="*/ 0 w 2366010"/>
              <a:gd name="connsiteY11" fmla="*/ 4891523 h 5136310"/>
              <a:gd name="connsiteX12" fmla="*/ 0 w 2366010"/>
              <a:gd name="connsiteY12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1765773 w 2366010"/>
              <a:gd name="connsiteY5" fmla="*/ 178233 h 5136310"/>
              <a:gd name="connsiteX6" fmla="*/ 2121223 w 2366010"/>
              <a:gd name="connsiteY6" fmla="*/ 11860 h 5136310"/>
              <a:gd name="connsiteX7" fmla="*/ 2366010 w 2366010"/>
              <a:gd name="connsiteY7" fmla="*/ 256647 h 5136310"/>
              <a:gd name="connsiteX8" fmla="*/ 2366010 w 2366010"/>
              <a:gd name="connsiteY8" fmla="*/ 4891523 h 5136310"/>
              <a:gd name="connsiteX9" fmla="*/ 2121223 w 2366010"/>
              <a:gd name="connsiteY9" fmla="*/ 5136310 h 5136310"/>
              <a:gd name="connsiteX10" fmla="*/ 244787 w 2366010"/>
              <a:gd name="connsiteY10" fmla="*/ 5136310 h 5136310"/>
              <a:gd name="connsiteX11" fmla="*/ 0 w 2366010"/>
              <a:gd name="connsiteY11" fmla="*/ 4891523 h 5136310"/>
              <a:gd name="connsiteX12" fmla="*/ 0 w 2366010"/>
              <a:gd name="connsiteY12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1773393 w 2366010"/>
              <a:gd name="connsiteY5" fmla="*/ 211253 h 5136310"/>
              <a:gd name="connsiteX6" fmla="*/ 2121223 w 2366010"/>
              <a:gd name="connsiteY6" fmla="*/ 11860 h 5136310"/>
              <a:gd name="connsiteX7" fmla="*/ 2366010 w 2366010"/>
              <a:gd name="connsiteY7" fmla="*/ 256647 h 5136310"/>
              <a:gd name="connsiteX8" fmla="*/ 2366010 w 2366010"/>
              <a:gd name="connsiteY8" fmla="*/ 4891523 h 5136310"/>
              <a:gd name="connsiteX9" fmla="*/ 2121223 w 2366010"/>
              <a:gd name="connsiteY9" fmla="*/ 5136310 h 5136310"/>
              <a:gd name="connsiteX10" fmla="*/ 244787 w 2366010"/>
              <a:gd name="connsiteY10" fmla="*/ 5136310 h 5136310"/>
              <a:gd name="connsiteX11" fmla="*/ 0 w 2366010"/>
              <a:gd name="connsiteY11" fmla="*/ 4891523 h 5136310"/>
              <a:gd name="connsiteX12" fmla="*/ 0 w 2366010"/>
              <a:gd name="connsiteY12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1760693 w 2366010"/>
              <a:gd name="connsiteY5" fmla="*/ 188393 h 5136310"/>
              <a:gd name="connsiteX6" fmla="*/ 2121223 w 2366010"/>
              <a:gd name="connsiteY6" fmla="*/ 11860 h 5136310"/>
              <a:gd name="connsiteX7" fmla="*/ 2366010 w 2366010"/>
              <a:gd name="connsiteY7" fmla="*/ 256647 h 5136310"/>
              <a:gd name="connsiteX8" fmla="*/ 2366010 w 2366010"/>
              <a:gd name="connsiteY8" fmla="*/ 4891523 h 5136310"/>
              <a:gd name="connsiteX9" fmla="*/ 2121223 w 2366010"/>
              <a:gd name="connsiteY9" fmla="*/ 5136310 h 5136310"/>
              <a:gd name="connsiteX10" fmla="*/ 244787 w 2366010"/>
              <a:gd name="connsiteY10" fmla="*/ 5136310 h 5136310"/>
              <a:gd name="connsiteX11" fmla="*/ 0 w 2366010"/>
              <a:gd name="connsiteY11" fmla="*/ 4891523 h 5136310"/>
              <a:gd name="connsiteX12" fmla="*/ 0 w 2366010"/>
              <a:gd name="connsiteY12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1760693 w 2366010"/>
              <a:gd name="connsiteY5" fmla="*/ 188393 h 5136310"/>
              <a:gd name="connsiteX6" fmla="*/ 2121223 w 2366010"/>
              <a:gd name="connsiteY6" fmla="*/ 11860 h 5136310"/>
              <a:gd name="connsiteX7" fmla="*/ 2366010 w 2366010"/>
              <a:gd name="connsiteY7" fmla="*/ 256647 h 5136310"/>
              <a:gd name="connsiteX8" fmla="*/ 2366010 w 2366010"/>
              <a:gd name="connsiteY8" fmla="*/ 4891523 h 5136310"/>
              <a:gd name="connsiteX9" fmla="*/ 2121223 w 2366010"/>
              <a:gd name="connsiteY9" fmla="*/ 5136310 h 5136310"/>
              <a:gd name="connsiteX10" fmla="*/ 244787 w 2366010"/>
              <a:gd name="connsiteY10" fmla="*/ 5136310 h 5136310"/>
              <a:gd name="connsiteX11" fmla="*/ 0 w 2366010"/>
              <a:gd name="connsiteY11" fmla="*/ 4891523 h 5136310"/>
              <a:gd name="connsiteX12" fmla="*/ 0 w 2366010"/>
              <a:gd name="connsiteY12" fmla="*/ 256647 h 5136310"/>
              <a:gd name="connsiteX0" fmla="*/ 0 w 2366010"/>
              <a:gd name="connsiteY0" fmla="*/ 258231 h 5137894"/>
              <a:gd name="connsiteX1" fmla="*/ 237167 w 2366010"/>
              <a:gd name="connsiteY1" fmla="*/ 10904 h 5137894"/>
              <a:gd name="connsiteX2" fmla="*/ 520700 w 2366010"/>
              <a:gd name="connsiteY2" fmla="*/ 9635 h 5137894"/>
              <a:gd name="connsiteX3" fmla="*/ 727710 w 2366010"/>
              <a:gd name="connsiteY3" fmla="*/ 196324 h 5137894"/>
              <a:gd name="connsiteX4" fmla="*/ 1364453 w 2366010"/>
              <a:gd name="connsiteY4" fmla="*/ 197597 h 5137894"/>
              <a:gd name="connsiteX5" fmla="*/ 1760693 w 2366010"/>
              <a:gd name="connsiteY5" fmla="*/ 189977 h 5137894"/>
              <a:gd name="connsiteX6" fmla="*/ 1877533 w 2366010"/>
              <a:gd name="connsiteY6" fmla="*/ 37577 h 5137894"/>
              <a:gd name="connsiteX7" fmla="*/ 2121223 w 2366010"/>
              <a:gd name="connsiteY7" fmla="*/ 13444 h 5137894"/>
              <a:gd name="connsiteX8" fmla="*/ 2366010 w 2366010"/>
              <a:gd name="connsiteY8" fmla="*/ 258231 h 5137894"/>
              <a:gd name="connsiteX9" fmla="*/ 2366010 w 2366010"/>
              <a:gd name="connsiteY9" fmla="*/ 4893107 h 5137894"/>
              <a:gd name="connsiteX10" fmla="*/ 2121223 w 2366010"/>
              <a:gd name="connsiteY10" fmla="*/ 5137894 h 5137894"/>
              <a:gd name="connsiteX11" fmla="*/ 244787 w 2366010"/>
              <a:gd name="connsiteY11" fmla="*/ 5137894 h 5137894"/>
              <a:gd name="connsiteX12" fmla="*/ 0 w 2366010"/>
              <a:gd name="connsiteY12" fmla="*/ 4893107 h 5137894"/>
              <a:gd name="connsiteX13" fmla="*/ 0 w 2366010"/>
              <a:gd name="connsiteY13" fmla="*/ 258231 h 5137894"/>
              <a:gd name="connsiteX0" fmla="*/ 0 w 2366010"/>
              <a:gd name="connsiteY0" fmla="*/ 258231 h 5137894"/>
              <a:gd name="connsiteX1" fmla="*/ 237167 w 2366010"/>
              <a:gd name="connsiteY1" fmla="*/ 10904 h 5137894"/>
              <a:gd name="connsiteX2" fmla="*/ 520700 w 2366010"/>
              <a:gd name="connsiteY2" fmla="*/ 9635 h 5137894"/>
              <a:gd name="connsiteX3" fmla="*/ 727710 w 2366010"/>
              <a:gd name="connsiteY3" fmla="*/ 196324 h 5137894"/>
              <a:gd name="connsiteX4" fmla="*/ 1364453 w 2366010"/>
              <a:gd name="connsiteY4" fmla="*/ 197597 h 5137894"/>
              <a:gd name="connsiteX5" fmla="*/ 1760693 w 2366010"/>
              <a:gd name="connsiteY5" fmla="*/ 189977 h 5137894"/>
              <a:gd name="connsiteX6" fmla="*/ 1877533 w 2366010"/>
              <a:gd name="connsiteY6" fmla="*/ 37577 h 5137894"/>
              <a:gd name="connsiteX7" fmla="*/ 2121223 w 2366010"/>
              <a:gd name="connsiteY7" fmla="*/ 13444 h 5137894"/>
              <a:gd name="connsiteX8" fmla="*/ 2366010 w 2366010"/>
              <a:gd name="connsiteY8" fmla="*/ 258231 h 5137894"/>
              <a:gd name="connsiteX9" fmla="*/ 2366010 w 2366010"/>
              <a:gd name="connsiteY9" fmla="*/ 4893107 h 5137894"/>
              <a:gd name="connsiteX10" fmla="*/ 2121223 w 2366010"/>
              <a:gd name="connsiteY10" fmla="*/ 5137894 h 5137894"/>
              <a:gd name="connsiteX11" fmla="*/ 244787 w 2366010"/>
              <a:gd name="connsiteY11" fmla="*/ 5137894 h 5137894"/>
              <a:gd name="connsiteX12" fmla="*/ 0 w 2366010"/>
              <a:gd name="connsiteY12" fmla="*/ 4893107 h 5137894"/>
              <a:gd name="connsiteX13" fmla="*/ 0 w 2366010"/>
              <a:gd name="connsiteY13" fmla="*/ 258231 h 5137894"/>
              <a:gd name="connsiteX0" fmla="*/ 0 w 2366010"/>
              <a:gd name="connsiteY0" fmla="*/ 263996 h 5143659"/>
              <a:gd name="connsiteX1" fmla="*/ 237167 w 2366010"/>
              <a:gd name="connsiteY1" fmla="*/ 16669 h 5143659"/>
              <a:gd name="connsiteX2" fmla="*/ 520700 w 2366010"/>
              <a:gd name="connsiteY2" fmla="*/ 15400 h 5143659"/>
              <a:gd name="connsiteX3" fmla="*/ 727710 w 2366010"/>
              <a:gd name="connsiteY3" fmla="*/ 202089 h 5143659"/>
              <a:gd name="connsiteX4" fmla="*/ 1364453 w 2366010"/>
              <a:gd name="connsiteY4" fmla="*/ 203362 h 5143659"/>
              <a:gd name="connsiteX5" fmla="*/ 1760693 w 2366010"/>
              <a:gd name="connsiteY5" fmla="*/ 195742 h 5143659"/>
              <a:gd name="connsiteX6" fmla="*/ 1864833 w 2366010"/>
              <a:gd name="connsiteY6" fmla="*/ 25562 h 5143659"/>
              <a:gd name="connsiteX7" fmla="*/ 2121223 w 2366010"/>
              <a:gd name="connsiteY7" fmla="*/ 19209 h 5143659"/>
              <a:gd name="connsiteX8" fmla="*/ 2366010 w 2366010"/>
              <a:gd name="connsiteY8" fmla="*/ 263996 h 5143659"/>
              <a:gd name="connsiteX9" fmla="*/ 2366010 w 2366010"/>
              <a:gd name="connsiteY9" fmla="*/ 4898872 h 5143659"/>
              <a:gd name="connsiteX10" fmla="*/ 2121223 w 2366010"/>
              <a:gd name="connsiteY10" fmla="*/ 5143659 h 5143659"/>
              <a:gd name="connsiteX11" fmla="*/ 244787 w 2366010"/>
              <a:gd name="connsiteY11" fmla="*/ 5143659 h 5143659"/>
              <a:gd name="connsiteX12" fmla="*/ 0 w 2366010"/>
              <a:gd name="connsiteY12" fmla="*/ 4898872 h 5143659"/>
              <a:gd name="connsiteX13" fmla="*/ 0 w 2366010"/>
              <a:gd name="connsiteY13" fmla="*/ 263996 h 5143659"/>
              <a:gd name="connsiteX0" fmla="*/ 0 w 2366010"/>
              <a:gd name="connsiteY0" fmla="*/ 256648 h 5136311"/>
              <a:gd name="connsiteX1" fmla="*/ 237167 w 2366010"/>
              <a:gd name="connsiteY1" fmla="*/ 9321 h 5136311"/>
              <a:gd name="connsiteX2" fmla="*/ 520700 w 2366010"/>
              <a:gd name="connsiteY2" fmla="*/ 8052 h 5136311"/>
              <a:gd name="connsiteX3" fmla="*/ 727710 w 2366010"/>
              <a:gd name="connsiteY3" fmla="*/ 194741 h 5136311"/>
              <a:gd name="connsiteX4" fmla="*/ 1364453 w 2366010"/>
              <a:gd name="connsiteY4" fmla="*/ 196014 h 5136311"/>
              <a:gd name="connsiteX5" fmla="*/ 1760693 w 2366010"/>
              <a:gd name="connsiteY5" fmla="*/ 188394 h 5136311"/>
              <a:gd name="connsiteX6" fmla="*/ 1864833 w 2366010"/>
              <a:gd name="connsiteY6" fmla="*/ 18214 h 5136311"/>
              <a:gd name="connsiteX7" fmla="*/ 2121223 w 2366010"/>
              <a:gd name="connsiteY7" fmla="*/ 11861 h 5136311"/>
              <a:gd name="connsiteX8" fmla="*/ 2366010 w 2366010"/>
              <a:gd name="connsiteY8" fmla="*/ 256648 h 5136311"/>
              <a:gd name="connsiteX9" fmla="*/ 2366010 w 2366010"/>
              <a:gd name="connsiteY9" fmla="*/ 4891524 h 5136311"/>
              <a:gd name="connsiteX10" fmla="*/ 2121223 w 2366010"/>
              <a:gd name="connsiteY10" fmla="*/ 5136311 h 5136311"/>
              <a:gd name="connsiteX11" fmla="*/ 244787 w 2366010"/>
              <a:gd name="connsiteY11" fmla="*/ 5136311 h 5136311"/>
              <a:gd name="connsiteX12" fmla="*/ 0 w 2366010"/>
              <a:gd name="connsiteY12" fmla="*/ 4891524 h 5136311"/>
              <a:gd name="connsiteX13" fmla="*/ 0 w 2366010"/>
              <a:gd name="connsiteY13" fmla="*/ 256648 h 5136311"/>
              <a:gd name="connsiteX0" fmla="*/ 0 w 2366010"/>
              <a:gd name="connsiteY0" fmla="*/ 258309 h 5137972"/>
              <a:gd name="connsiteX1" fmla="*/ 237167 w 2366010"/>
              <a:gd name="connsiteY1" fmla="*/ 10982 h 5137972"/>
              <a:gd name="connsiteX2" fmla="*/ 520700 w 2366010"/>
              <a:gd name="connsiteY2" fmla="*/ 9713 h 5137972"/>
              <a:gd name="connsiteX3" fmla="*/ 727710 w 2366010"/>
              <a:gd name="connsiteY3" fmla="*/ 196402 h 5137972"/>
              <a:gd name="connsiteX4" fmla="*/ 1364453 w 2366010"/>
              <a:gd name="connsiteY4" fmla="*/ 197675 h 5137972"/>
              <a:gd name="connsiteX5" fmla="*/ 1760693 w 2366010"/>
              <a:gd name="connsiteY5" fmla="*/ 190055 h 5137972"/>
              <a:gd name="connsiteX6" fmla="*/ 1864833 w 2366010"/>
              <a:gd name="connsiteY6" fmla="*/ 19875 h 5137972"/>
              <a:gd name="connsiteX7" fmla="*/ 2121223 w 2366010"/>
              <a:gd name="connsiteY7" fmla="*/ 13522 h 5137972"/>
              <a:gd name="connsiteX8" fmla="*/ 2366010 w 2366010"/>
              <a:gd name="connsiteY8" fmla="*/ 258309 h 5137972"/>
              <a:gd name="connsiteX9" fmla="*/ 2366010 w 2366010"/>
              <a:gd name="connsiteY9" fmla="*/ 4893185 h 5137972"/>
              <a:gd name="connsiteX10" fmla="*/ 2121223 w 2366010"/>
              <a:gd name="connsiteY10" fmla="*/ 5137972 h 5137972"/>
              <a:gd name="connsiteX11" fmla="*/ 244787 w 2366010"/>
              <a:gd name="connsiteY11" fmla="*/ 5137972 h 5137972"/>
              <a:gd name="connsiteX12" fmla="*/ 0 w 2366010"/>
              <a:gd name="connsiteY12" fmla="*/ 4893185 h 5137972"/>
              <a:gd name="connsiteX13" fmla="*/ 0 w 2366010"/>
              <a:gd name="connsiteY13" fmla="*/ 258309 h 5137972"/>
              <a:gd name="connsiteX0" fmla="*/ 0 w 2366010"/>
              <a:gd name="connsiteY0" fmla="*/ 258309 h 5137972"/>
              <a:gd name="connsiteX1" fmla="*/ 237167 w 2366010"/>
              <a:gd name="connsiteY1" fmla="*/ 10982 h 5137972"/>
              <a:gd name="connsiteX2" fmla="*/ 520700 w 2366010"/>
              <a:gd name="connsiteY2" fmla="*/ 9713 h 5137972"/>
              <a:gd name="connsiteX3" fmla="*/ 727710 w 2366010"/>
              <a:gd name="connsiteY3" fmla="*/ 196402 h 5137972"/>
              <a:gd name="connsiteX4" fmla="*/ 1364453 w 2366010"/>
              <a:gd name="connsiteY4" fmla="*/ 197675 h 5137972"/>
              <a:gd name="connsiteX5" fmla="*/ 1753073 w 2366010"/>
              <a:gd name="connsiteY5" fmla="*/ 190055 h 5137972"/>
              <a:gd name="connsiteX6" fmla="*/ 1864833 w 2366010"/>
              <a:gd name="connsiteY6" fmla="*/ 19875 h 5137972"/>
              <a:gd name="connsiteX7" fmla="*/ 2121223 w 2366010"/>
              <a:gd name="connsiteY7" fmla="*/ 13522 h 5137972"/>
              <a:gd name="connsiteX8" fmla="*/ 2366010 w 2366010"/>
              <a:gd name="connsiteY8" fmla="*/ 258309 h 5137972"/>
              <a:gd name="connsiteX9" fmla="*/ 2366010 w 2366010"/>
              <a:gd name="connsiteY9" fmla="*/ 4893185 h 5137972"/>
              <a:gd name="connsiteX10" fmla="*/ 2121223 w 2366010"/>
              <a:gd name="connsiteY10" fmla="*/ 5137972 h 5137972"/>
              <a:gd name="connsiteX11" fmla="*/ 244787 w 2366010"/>
              <a:gd name="connsiteY11" fmla="*/ 5137972 h 5137972"/>
              <a:gd name="connsiteX12" fmla="*/ 0 w 2366010"/>
              <a:gd name="connsiteY12" fmla="*/ 4893185 h 5137972"/>
              <a:gd name="connsiteX13" fmla="*/ 0 w 2366010"/>
              <a:gd name="connsiteY13" fmla="*/ 258309 h 5137972"/>
              <a:gd name="connsiteX0" fmla="*/ 0 w 2366010"/>
              <a:gd name="connsiteY0" fmla="*/ 258309 h 5137972"/>
              <a:gd name="connsiteX1" fmla="*/ 237167 w 2366010"/>
              <a:gd name="connsiteY1" fmla="*/ 10982 h 5137972"/>
              <a:gd name="connsiteX2" fmla="*/ 520700 w 2366010"/>
              <a:gd name="connsiteY2" fmla="*/ 9713 h 5137972"/>
              <a:gd name="connsiteX3" fmla="*/ 727710 w 2366010"/>
              <a:gd name="connsiteY3" fmla="*/ 196402 h 5137972"/>
              <a:gd name="connsiteX4" fmla="*/ 1364453 w 2366010"/>
              <a:gd name="connsiteY4" fmla="*/ 197675 h 5137972"/>
              <a:gd name="connsiteX5" fmla="*/ 1753073 w 2366010"/>
              <a:gd name="connsiteY5" fmla="*/ 190055 h 5137972"/>
              <a:gd name="connsiteX6" fmla="*/ 1864833 w 2366010"/>
              <a:gd name="connsiteY6" fmla="*/ 19875 h 5137972"/>
              <a:gd name="connsiteX7" fmla="*/ 2121223 w 2366010"/>
              <a:gd name="connsiteY7" fmla="*/ 13522 h 5137972"/>
              <a:gd name="connsiteX8" fmla="*/ 2366010 w 2366010"/>
              <a:gd name="connsiteY8" fmla="*/ 258309 h 5137972"/>
              <a:gd name="connsiteX9" fmla="*/ 2366010 w 2366010"/>
              <a:gd name="connsiteY9" fmla="*/ 4893185 h 5137972"/>
              <a:gd name="connsiteX10" fmla="*/ 2121223 w 2366010"/>
              <a:gd name="connsiteY10" fmla="*/ 5137972 h 5137972"/>
              <a:gd name="connsiteX11" fmla="*/ 244787 w 2366010"/>
              <a:gd name="connsiteY11" fmla="*/ 5137972 h 5137972"/>
              <a:gd name="connsiteX12" fmla="*/ 0 w 2366010"/>
              <a:gd name="connsiteY12" fmla="*/ 4893185 h 5137972"/>
              <a:gd name="connsiteX13" fmla="*/ 0 w 2366010"/>
              <a:gd name="connsiteY13" fmla="*/ 258309 h 5137972"/>
              <a:gd name="connsiteX0" fmla="*/ 0 w 2366010"/>
              <a:gd name="connsiteY0" fmla="*/ 258309 h 5137972"/>
              <a:gd name="connsiteX1" fmla="*/ 237167 w 2366010"/>
              <a:gd name="connsiteY1" fmla="*/ 10982 h 5137972"/>
              <a:gd name="connsiteX2" fmla="*/ 520700 w 2366010"/>
              <a:gd name="connsiteY2" fmla="*/ 9713 h 5137972"/>
              <a:gd name="connsiteX3" fmla="*/ 727710 w 2366010"/>
              <a:gd name="connsiteY3" fmla="*/ 196402 h 5137972"/>
              <a:gd name="connsiteX4" fmla="*/ 1364453 w 2366010"/>
              <a:gd name="connsiteY4" fmla="*/ 197675 h 5137972"/>
              <a:gd name="connsiteX5" fmla="*/ 1753073 w 2366010"/>
              <a:gd name="connsiteY5" fmla="*/ 190055 h 5137972"/>
              <a:gd name="connsiteX6" fmla="*/ 1864833 w 2366010"/>
              <a:gd name="connsiteY6" fmla="*/ 19875 h 5137972"/>
              <a:gd name="connsiteX7" fmla="*/ 2121223 w 2366010"/>
              <a:gd name="connsiteY7" fmla="*/ 13522 h 5137972"/>
              <a:gd name="connsiteX8" fmla="*/ 2366010 w 2366010"/>
              <a:gd name="connsiteY8" fmla="*/ 258309 h 5137972"/>
              <a:gd name="connsiteX9" fmla="*/ 2366010 w 2366010"/>
              <a:gd name="connsiteY9" fmla="*/ 4893185 h 5137972"/>
              <a:gd name="connsiteX10" fmla="*/ 2121223 w 2366010"/>
              <a:gd name="connsiteY10" fmla="*/ 5137972 h 5137972"/>
              <a:gd name="connsiteX11" fmla="*/ 244787 w 2366010"/>
              <a:gd name="connsiteY11" fmla="*/ 5137972 h 5137972"/>
              <a:gd name="connsiteX12" fmla="*/ 0 w 2366010"/>
              <a:gd name="connsiteY12" fmla="*/ 4893185 h 5137972"/>
              <a:gd name="connsiteX13" fmla="*/ 0 w 2366010"/>
              <a:gd name="connsiteY13" fmla="*/ 258309 h 5137972"/>
              <a:gd name="connsiteX0" fmla="*/ 0 w 2366010"/>
              <a:gd name="connsiteY0" fmla="*/ 258309 h 5137972"/>
              <a:gd name="connsiteX1" fmla="*/ 237167 w 2366010"/>
              <a:gd name="connsiteY1" fmla="*/ 10982 h 5137972"/>
              <a:gd name="connsiteX2" fmla="*/ 520700 w 2366010"/>
              <a:gd name="connsiteY2" fmla="*/ 9713 h 5137972"/>
              <a:gd name="connsiteX3" fmla="*/ 727710 w 2366010"/>
              <a:gd name="connsiteY3" fmla="*/ 196402 h 5137972"/>
              <a:gd name="connsiteX4" fmla="*/ 1364453 w 2366010"/>
              <a:gd name="connsiteY4" fmla="*/ 197675 h 5137972"/>
              <a:gd name="connsiteX5" fmla="*/ 1753073 w 2366010"/>
              <a:gd name="connsiteY5" fmla="*/ 190055 h 5137972"/>
              <a:gd name="connsiteX6" fmla="*/ 1864833 w 2366010"/>
              <a:gd name="connsiteY6" fmla="*/ 19875 h 5137972"/>
              <a:gd name="connsiteX7" fmla="*/ 2121223 w 2366010"/>
              <a:gd name="connsiteY7" fmla="*/ 13522 h 5137972"/>
              <a:gd name="connsiteX8" fmla="*/ 2366010 w 2366010"/>
              <a:gd name="connsiteY8" fmla="*/ 258309 h 5137972"/>
              <a:gd name="connsiteX9" fmla="*/ 2366010 w 2366010"/>
              <a:gd name="connsiteY9" fmla="*/ 4893185 h 5137972"/>
              <a:gd name="connsiteX10" fmla="*/ 2121223 w 2366010"/>
              <a:gd name="connsiteY10" fmla="*/ 5137972 h 5137972"/>
              <a:gd name="connsiteX11" fmla="*/ 244787 w 2366010"/>
              <a:gd name="connsiteY11" fmla="*/ 5137972 h 5137972"/>
              <a:gd name="connsiteX12" fmla="*/ 0 w 2366010"/>
              <a:gd name="connsiteY12" fmla="*/ 4893185 h 5137972"/>
              <a:gd name="connsiteX13" fmla="*/ 0 w 2366010"/>
              <a:gd name="connsiteY13" fmla="*/ 258309 h 5137972"/>
              <a:gd name="connsiteX0" fmla="*/ 0 w 2366010"/>
              <a:gd name="connsiteY0" fmla="*/ 260632 h 5140295"/>
              <a:gd name="connsiteX1" fmla="*/ 237167 w 2366010"/>
              <a:gd name="connsiteY1" fmla="*/ 13305 h 5140295"/>
              <a:gd name="connsiteX2" fmla="*/ 520700 w 2366010"/>
              <a:gd name="connsiteY2" fmla="*/ 12036 h 5140295"/>
              <a:gd name="connsiteX3" fmla="*/ 727710 w 2366010"/>
              <a:gd name="connsiteY3" fmla="*/ 198725 h 5140295"/>
              <a:gd name="connsiteX4" fmla="*/ 1364453 w 2366010"/>
              <a:gd name="connsiteY4" fmla="*/ 199998 h 5140295"/>
              <a:gd name="connsiteX5" fmla="*/ 1753073 w 2366010"/>
              <a:gd name="connsiteY5" fmla="*/ 192378 h 5140295"/>
              <a:gd name="connsiteX6" fmla="*/ 1857213 w 2366010"/>
              <a:gd name="connsiteY6" fmla="*/ 14578 h 5140295"/>
              <a:gd name="connsiteX7" fmla="*/ 2121223 w 2366010"/>
              <a:gd name="connsiteY7" fmla="*/ 15845 h 5140295"/>
              <a:gd name="connsiteX8" fmla="*/ 2366010 w 2366010"/>
              <a:gd name="connsiteY8" fmla="*/ 260632 h 5140295"/>
              <a:gd name="connsiteX9" fmla="*/ 2366010 w 2366010"/>
              <a:gd name="connsiteY9" fmla="*/ 4895508 h 5140295"/>
              <a:gd name="connsiteX10" fmla="*/ 2121223 w 2366010"/>
              <a:gd name="connsiteY10" fmla="*/ 5140295 h 5140295"/>
              <a:gd name="connsiteX11" fmla="*/ 244787 w 2366010"/>
              <a:gd name="connsiteY11" fmla="*/ 5140295 h 5140295"/>
              <a:gd name="connsiteX12" fmla="*/ 0 w 2366010"/>
              <a:gd name="connsiteY12" fmla="*/ 4895508 h 5140295"/>
              <a:gd name="connsiteX13" fmla="*/ 0 w 2366010"/>
              <a:gd name="connsiteY13" fmla="*/ 260632 h 5140295"/>
              <a:gd name="connsiteX0" fmla="*/ 0 w 2366010"/>
              <a:gd name="connsiteY0" fmla="*/ 262169 h 5141832"/>
              <a:gd name="connsiteX1" fmla="*/ 237167 w 2366010"/>
              <a:gd name="connsiteY1" fmla="*/ 14842 h 5141832"/>
              <a:gd name="connsiteX2" fmla="*/ 520700 w 2366010"/>
              <a:gd name="connsiteY2" fmla="*/ 13573 h 5141832"/>
              <a:gd name="connsiteX3" fmla="*/ 727710 w 2366010"/>
              <a:gd name="connsiteY3" fmla="*/ 200262 h 5141832"/>
              <a:gd name="connsiteX4" fmla="*/ 1364453 w 2366010"/>
              <a:gd name="connsiteY4" fmla="*/ 201535 h 5141832"/>
              <a:gd name="connsiteX5" fmla="*/ 1753073 w 2366010"/>
              <a:gd name="connsiteY5" fmla="*/ 193915 h 5141832"/>
              <a:gd name="connsiteX6" fmla="*/ 1857213 w 2366010"/>
              <a:gd name="connsiteY6" fmla="*/ 16115 h 5141832"/>
              <a:gd name="connsiteX7" fmla="*/ 2121223 w 2366010"/>
              <a:gd name="connsiteY7" fmla="*/ 17382 h 5141832"/>
              <a:gd name="connsiteX8" fmla="*/ 2366010 w 2366010"/>
              <a:gd name="connsiteY8" fmla="*/ 262169 h 5141832"/>
              <a:gd name="connsiteX9" fmla="*/ 2366010 w 2366010"/>
              <a:gd name="connsiteY9" fmla="*/ 4897045 h 5141832"/>
              <a:gd name="connsiteX10" fmla="*/ 2121223 w 2366010"/>
              <a:gd name="connsiteY10" fmla="*/ 5141832 h 5141832"/>
              <a:gd name="connsiteX11" fmla="*/ 244787 w 2366010"/>
              <a:gd name="connsiteY11" fmla="*/ 5141832 h 5141832"/>
              <a:gd name="connsiteX12" fmla="*/ 0 w 2366010"/>
              <a:gd name="connsiteY12" fmla="*/ 4897045 h 5141832"/>
              <a:gd name="connsiteX13" fmla="*/ 0 w 2366010"/>
              <a:gd name="connsiteY13" fmla="*/ 262169 h 5141832"/>
              <a:gd name="connsiteX0" fmla="*/ 0 w 2366010"/>
              <a:gd name="connsiteY0" fmla="*/ 259044 h 5138707"/>
              <a:gd name="connsiteX1" fmla="*/ 237167 w 2366010"/>
              <a:gd name="connsiteY1" fmla="*/ 11717 h 5138707"/>
              <a:gd name="connsiteX2" fmla="*/ 520700 w 2366010"/>
              <a:gd name="connsiteY2" fmla="*/ 10448 h 5138707"/>
              <a:gd name="connsiteX3" fmla="*/ 727710 w 2366010"/>
              <a:gd name="connsiteY3" fmla="*/ 197137 h 5138707"/>
              <a:gd name="connsiteX4" fmla="*/ 1364453 w 2366010"/>
              <a:gd name="connsiteY4" fmla="*/ 198410 h 5138707"/>
              <a:gd name="connsiteX5" fmla="*/ 1753073 w 2366010"/>
              <a:gd name="connsiteY5" fmla="*/ 190790 h 5138707"/>
              <a:gd name="connsiteX6" fmla="*/ 1857213 w 2366010"/>
              <a:gd name="connsiteY6" fmla="*/ 12990 h 5138707"/>
              <a:gd name="connsiteX7" fmla="*/ 2121223 w 2366010"/>
              <a:gd name="connsiteY7" fmla="*/ 14257 h 5138707"/>
              <a:gd name="connsiteX8" fmla="*/ 2366010 w 2366010"/>
              <a:gd name="connsiteY8" fmla="*/ 259044 h 5138707"/>
              <a:gd name="connsiteX9" fmla="*/ 2366010 w 2366010"/>
              <a:gd name="connsiteY9" fmla="*/ 4893920 h 5138707"/>
              <a:gd name="connsiteX10" fmla="*/ 2121223 w 2366010"/>
              <a:gd name="connsiteY10" fmla="*/ 5138707 h 5138707"/>
              <a:gd name="connsiteX11" fmla="*/ 244787 w 2366010"/>
              <a:gd name="connsiteY11" fmla="*/ 5138707 h 5138707"/>
              <a:gd name="connsiteX12" fmla="*/ 0 w 2366010"/>
              <a:gd name="connsiteY12" fmla="*/ 4893920 h 5138707"/>
              <a:gd name="connsiteX13" fmla="*/ 0 w 2366010"/>
              <a:gd name="connsiteY13" fmla="*/ 259044 h 5138707"/>
              <a:gd name="connsiteX0" fmla="*/ 0 w 2366010"/>
              <a:gd name="connsiteY0" fmla="*/ 259044 h 5138707"/>
              <a:gd name="connsiteX1" fmla="*/ 237167 w 2366010"/>
              <a:gd name="connsiteY1" fmla="*/ 11717 h 5138707"/>
              <a:gd name="connsiteX2" fmla="*/ 520700 w 2366010"/>
              <a:gd name="connsiteY2" fmla="*/ 10448 h 5138707"/>
              <a:gd name="connsiteX3" fmla="*/ 727710 w 2366010"/>
              <a:gd name="connsiteY3" fmla="*/ 197137 h 5138707"/>
              <a:gd name="connsiteX4" fmla="*/ 1364453 w 2366010"/>
              <a:gd name="connsiteY4" fmla="*/ 198410 h 5138707"/>
              <a:gd name="connsiteX5" fmla="*/ 1753073 w 2366010"/>
              <a:gd name="connsiteY5" fmla="*/ 190790 h 5138707"/>
              <a:gd name="connsiteX6" fmla="*/ 1857213 w 2366010"/>
              <a:gd name="connsiteY6" fmla="*/ 12990 h 5138707"/>
              <a:gd name="connsiteX7" fmla="*/ 2121223 w 2366010"/>
              <a:gd name="connsiteY7" fmla="*/ 14257 h 5138707"/>
              <a:gd name="connsiteX8" fmla="*/ 2366010 w 2366010"/>
              <a:gd name="connsiteY8" fmla="*/ 259044 h 5138707"/>
              <a:gd name="connsiteX9" fmla="*/ 2366010 w 2366010"/>
              <a:gd name="connsiteY9" fmla="*/ 4893920 h 5138707"/>
              <a:gd name="connsiteX10" fmla="*/ 2121223 w 2366010"/>
              <a:gd name="connsiteY10" fmla="*/ 5138707 h 5138707"/>
              <a:gd name="connsiteX11" fmla="*/ 244787 w 2366010"/>
              <a:gd name="connsiteY11" fmla="*/ 5138707 h 5138707"/>
              <a:gd name="connsiteX12" fmla="*/ 0 w 2366010"/>
              <a:gd name="connsiteY12" fmla="*/ 4893920 h 5138707"/>
              <a:gd name="connsiteX13" fmla="*/ 0 w 2366010"/>
              <a:gd name="connsiteY13" fmla="*/ 259044 h 5138707"/>
              <a:gd name="connsiteX0" fmla="*/ 0 w 2366010"/>
              <a:gd name="connsiteY0" fmla="*/ 262169 h 5141832"/>
              <a:gd name="connsiteX1" fmla="*/ 237167 w 2366010"/>
              <a:gd name="connsiteY1" fmla="*/ 14842 h 5141832"/>
              <a:gd name="connsiteX2" fmla="*/ 520700 w 2366010"/>
              <a:gd name="connsiteY2" fmla="*/ 13573 h 5141832"/>
              <a:gd name="connsiteX3" fmla="*/ 727710 w 2366010"/>
              <a:gd name="connsiteY3" fmla="*/ 200262 h 5141832"/>
              <a:gd name="connsiteX4" fmla="*/ 1364453 w 2366010"/>
              <a:gd name="connsiteY4" fmla="*/ 201535 h 5141832"/>
              <a:gd name="connsiteX5" fmla="*/ 1753073 w 2366010"/>
              <a:gd name="connsiteY5" fmla="*/ 193915 h 5141832"/>
              <a:gd name="connsiteX6" fmla="*/ 1857213 w 2366010"/>
              <a:gd name="connsiteY6" fmla="*/ 16115 h 5141832"/>
              <a:gd name="connsiteX7" fmla="*/ 2121223 w 2366010"/>
              <a:gd name="connsiteY7" fmla="*/ 17382 h 5141832"/>
              <a:gd name="connsiteX8" fmla="*/ 2366010 w 2366010"/>
              <a:gd name="connsiteY8" fmla="*/ 262169 h 5141832"/>
              <a:gd name="connsiteX9" fmla="*/ 2366010 w 2366010"/>
              <a:gd name="connsiteY9" fmla="*/ 4897045 h 5141832"/>
              <a:gd name="connsiteX10" fmla="*/ 2121223 w 2366010"/>
              <a:gd name="connsiteY10" fmla="*/ 5141832 h 5141832"/>
              <a:gd name="connsiteX11" fmla="*/ 244787 w 2366010"/>
              <a:gd name="connsiteY11" fmla="*/ 5141832 h 5141832"/>
              <a:gd name="connsiteX12" fmla="*/ 0 w 2366010"/>
              <a:gd name="connsiteY12" fmla="*/ 4897045 h 5141832"/>
              <a:gd name="connsiteX13" fmla="*/ 0 w 2366010"/>
              <a:gd name="connsiteY13" fmla="*/ 262169 h 5141832"/>
              <a:gd name="connsiteX0" fmla="*/ 0 w 2366010"/>
              <a:gd name="connsiteY0" fmla="*/ 262169 h 5141832"/>
              <a:gd name="connsiteX1" fmla="*/ 237167 w 2366010"/>
              <a:gd name="connsiteY1" fmla="*/ 14842 h 5141832"/>
              <a:gd name="connsiteX2" fmla="*/ 520700 w 2366010"/>
              <a:gd name="connsiteY2" fmla="*/ 13573 h 5141832"/>
              <a:gd name="connsiteX3" fmla="*/ 727710 w 2366010"/>
              <a:gd name="connsiteY3" fmla="*/ 200262 h 5141832"/>
              <a:gd name="connsiteX4" fmla="*/ 1364453 w 2366010"/>
              <a:gd name="connsiteY4" fmla="*/ 201535 h 5141832"/>
              <a:gd name="connsiteX5" fmla="*/ 1755613 w 2366010"/>
              <a:gd name="connsiteY5" fmla="*/ 186299 h 5141832"/>
              <a:gd name="connsiteX6" fmla="*/ 1857213 w 2366010"/>
              <a:gd name="connsiteY6" fmla="*/ 16115 h 5141832"/>
              <a:gd name="connsiteX7" fmla="*/ 2121223 w 2366010"/>
              <a:gd name="connsiteY7" fmla="*/ 17382 h 5141832"/>
              <a:gd name="connsiteX8" fmla="*/ 2366010 w 2366010"/>
              <a:gd name="connsiteY8" fmla="*/ 262169 h 5141832"/>
              <a:gd name="connsiteX9" fmla="*/ 2366010 w 2366010"/>
              <a:gd name="connsiteY9" fmla="*/ 4897045 h 5141832"/>
              <a:gd name="connsiteX10" fmla="*/ 2121223 w 2366010"/>
              <a:gd name="connsiteY10" fmla="*/ 5141832 h 5141832"/>
              <a:gd name="connsiteX11" fmla="*/ 244787 w 2366010"/>
              <a:gd name="connsiteY11" fmla="*/ 5141832 h 5141832"/>
              <a:gd name="connsiteX12" fmla="*/ 0 w 2366010"/>
              <a:gd name="connsiteY12" fmla="*/ 4897045 h 5141832"/>
              <a:gd name="connsiteX13" fmla="*/ 0 w 2366010"/>
              <a:gd name="connsiteY13" fmla="*/ 262169 h 5141832"/>
              <a:gd name="connsiteX0" fmla="*/ 0 w 2366010"/>
              <a:gd name="connsiteY0" fmla="*/ 262169 h 5141832"/>
              <a:gd name="connsiteX1" fmla="*/ 237167 w 2366010"/>
              <a:gd name="connsiteY1" fmla="*/ 14842 h 5141832"/>
              <a:gd name="connsiteX2" fmla="*/ 520700 w 2366010"/>
              <a:gd name="connsiteY2" fmla="*/ 13573 h 5141832"/>
              <a:gd name="connsiteX3" fmla="*/ 727710 w 2366010"/>
              <a:gd name="connsiteY3" fmla="*/ 200262 h 5141832"/>
              <a:gd name="connsiteX4" fmla="*/ 1364453 w 2366010"/>
              <a:gd name="connsiteY4" fmla="*/ 201535 h 5141832"/>
              <a:gd name="connsiteX5" fmla="*/ 1755613 w 2366010"/>
              <a:gd name="connsiteY5" fmla="*/ 186299 h 5141832"/>
              <a:gd name="connsiteX6" fmla="*/ 1857213 w 2366010"/>
              <a:gd name="connsiteY6" fmla="*/ 16115 h 5141832"/>
              <a:gd name="connsiteX7" fmla="*/ 2121223 w 2366010"/>
              <a:gd name="connsiteY7" fmla="*/ 17382 h 5141832"/>
              <a:gd name="connsiteX8" fmla="*/ 2366010 w 2366010"/>
              <a:gd name="connsiteY8" fmla="*/ 262169 h 5141832"/>
              <a:gd name="connsiteX9" fmla="*/ 2366010 w 2366010"/>
              <a:gd name="connsiteY9" fmla="*/ 4897045 h 5141832"/>
              <a:gd name="connsiteX10" fmla="*/ 2121223 w 2366010"/>
              <a:gd name="connsiteY10" fmla="*/ 5141832 h 5141832"/>
              <a:gd name="connsiteX11" fmla="*/ 244787 w 2366010"/>
              <a:gd name="connsiteY11" fmla="*/ 5141832 h 5141832"/>
              <a:gd name="connsiteX12" fmla="*/ 0 w 2366010"/>
              <a:gd name="connsiteY12" fmla="*/ 4897045 h 5141832"/>
              <a:gd name="connsiteX13" fmla="*/ 0 w 2366010"/>
              <a:gd name="connsiteY13" fmla="*/ 262169 h 5141832"/>
              <a:gd name="connsiteX0" fmla="*/ 0 w 2366010"/>
              <a:gd name="connsiteY0" fmla="*/ 261383 h 5141046"/>
              <a:gd name="connsiteX1" fmla="*/ 237167 w 2366010"/>
              <a:gd name="connsiteY1" fmla="*/ 14056 h 5141046"/>
              <a:gd name="connsiteX2" fmla="*/ 520700 w 2366010"/>
              <a:gd name="connsiteY2" fmla="*/ 12787 h 5141046"/>
              <a:gd name="connsiteX3" fmla="*/ 727710 w 2366010"/>
              <a:gd name="connsiteY3" fmla="*/ 199476 h 5141046"/>
              <a:gd name="connsiteX4" fmla="*/ 1364453 w 2366010"/>
              <a:gd name="connsiteY4" fmla="*/ 200749 h 5141046"/>
              <a:gd name="connsiteX5" fmla="*/ 1755613 w 2366010"/>
              <a:gd name="connsiteY5" fmla="*/ 185513 h 5141046"/>
              <a:gd name="connsiteX6" fmla="*/ 1857213 w 2366010"/>
              <a:gd name="connsiteY6" fmla="*/ 15329 h 5141046"/>
              <a:gd name="connsiteX7" fmla="*/ 2121223 w 2366010"/>
              <a:gd name="connsiteY7" fmla="*/ 16596 h 5141046"/>
              <a:gd name="connsiteX8" fmla="*/ 2366010 w 2366010"/>
              <a:gd name="connsiteY8" fmla="*/ 261383 h 5141046"/>
              <a:gd name="connsiteX9" fmla="*/ 2366010 w 2366010"/>
              <a:gd name="connsiteY9" fmla="*/ 4896259 h 5141046"/>
              <a:gd name="connsiteX10" fmla="*/ 2121223 w 2366010"/>
              <a:gd name="connsiteY10" fmla="*/ 5141046 h 5141046"/>
              <a:gd name="connsiteX11" fmla="*/ 244787 w 2366010"/>
              <a:gd name="connsiteY11" fmla="*/ 5141046 h 5141046"/>
              <a:gd name="connsiteX12" fmla="*/ 0 w 2366010"/>
              <a:gd name="connsiteY12" fmla="*/ 4896259 h 5141046"/>
              <a:gd name="connsiteX13" fmla="*/ 0 w 2366010"/>
              <a:gd name="connsiteY13" fmla="*/ 261383 h 5141046"/>
              <a:gd name="connsiteX0" fmla="*/ 0 w 2366010"/>
              <a:gd name="connsiteY0" fmla="*/ 261383 h 5141046"/>
              <a:gd name="connsiteX1" fmla="*/ 237167 w 2366010"/>
              <a:gd name="connsiteY1" fmla="*/ 14056 h 5141046"/>
              <a:gd name="connsiteX2" fmla="*/ 520700 w 2366010"/>
              <a:gd name="connsiteY2" fmla="*/ 12787 h 5141046"/>
              <a:gd name="connsiteX3" fmla="*/ 727710 w 2366010"/>
              <a:gd name="connsiteY3" fmla="*/ 199476 h 5141046"/>
              <a:gd name="connsiteX4" fmla="*/ 1364453 w 2366010"/>
              <a:gd name="connsiteY4" fmla="*/ 200749 h 5141046"/>
              <a:gd name="connsiteX5" fmla="*/ 1755613 w 2366010"/>
              <a:gd name="connsiteY5" fmla="*/ 185513 h 5141046"/>
              <a:gd name="connsiteX6" fmla="*/ 1857213 w 2366010"/>
              <a:gd name="connsiteY6" fmla="*/ 15329 h 5141046"/>
              <a:gd name="connsiteX7" fmla="*/ 2121223 w 2366010"/>
              <a:gd name="connsiteY7" fmla="*/ 16596 h 5141046"/>
              <a:gd name="connsiteX8" fmla="*/ 2366010 w 2366010"/>
              <a:gd name="connsiteY8" fmla="*/ 261383 h 5141046"/>
              <a:gd name="connsiteX9" fmla="*/ 2366010 w 2366010"/>
              <a:gd name="connsiteY9" fmla="*/ 4896259 h 5141046"/>
              <a:gd name="connsiteX10" fmla="*/ 2121223 w 2366010"/>
              <a:gd name="connsiteY10" fmla="*/ 5141046 h 5141046"/>
              <a:gd name="connsiteX11" fmla="*/ 244787 w 2366010"/>
              <a:gd name="connsiteY11" fmla="*/ 5141046 h 5141046"/>
              <a:gd name="connsiteX12" fmla="*/ 0 w 2366010"/>
              <a:gd name="connsiteY12" fmla="*/ 4896259 h 5141046"/>
              <a:gd name="connsiteX13" fmla="*/ 0 w 2366010"/>
              <a:gd name="connsiteY13" fmla="*/ 261383 h 5141046"/>
              <a:gd name="connsiteX0" fmla="*/ 0 w 2366010"/>
              <a:gd name="connsiteY0" fmla="*/ 266517 h 5146180"/>
              <a:gd name="connsiteX1" fmla="*/ 237167 w 2366010"/>
              <a:gd name="connsiteY1" fmla="*/ 19190 h 5146180"/>
              <a:gd name="connsiteX2" fmla="*/ 520700 w 2366010"/>
              <a:gd name="connsiteY2" fmla="*/ 17921 h 5146180"/>
              <a:gd name="connsiteX3" fmla="*/ 727710 w 2366010"/>
              <a:gd name="connsiteY3" fmla="*/ 204610 h 5146180"/>
              <a:gd name="connsiteX4" fmla="*/ 1364453 w 2366010"/>
              <a:gd name="connsiteY4" fmla="*/ 205883 h 5146180"/>
              <a:gd name="connsiteX5" fmla="*/ 1755613 w 2366010"/>
              <a:gd name="connsiteY5" fmla="*/ 190647 h 5146180"/>
              <a:gd name="connsiteX6" fmla="*/ 1857213 w 2366010"/>
              <a:gd name="connsiteY6" fmla="*/ 20463 h 5146180"/>
              <a:gd name="connsiteX7" fmla="*/ 2133923 w 2366010"/>
              <a:gd name="connsiteY7" fmla="*/ 14114 h 5146180"/>
              <a:gd name="connsiteX8" fmla="*/ 2366010 w 2366010"/>
              <a:gd name="connsiteY8" fmla="*/ 266517 h 5146180"/>
              <a:gd name="connsiteX9" fmla="*/ 2366010 w 2366010"/>
              <a:gd name="connsiteY9" fmla="*/ 4901393 h 5146180"/>
              <a:gd name="connsiteX10" fmla="*/ 2121223 w 2366010"/>
              <a:gd name="connsiteY10" fmla="*/ 5146180 h 5146180"/>
              <a:gd name="connsiteX11" fmla="*/ 244787 w 2366010"/>
              <a:gd name="connsiteY11" fmla="*/ 5146180 h 5146180"/>
              <a:gd name="connsiteX12" fmla="*/ 0 w 2366010"/>
              <a:gd name="connsiteY12" fmla="*/ 4901393 h 5146180"/>
              <a:gd name="connsiteX13" fmla="*/ 0 w 2366010"/>
              <a:gd name="connsiteY13" fmla="*/ 266517 h 5146180"/>
              <a:gd name="connsiteX0" fmla="*/ 0 w 2366010"/>
              <a:gd name="connsiteY0" fmla="*/ 266517 h 5146180"/>
              <a:gd name="connsiteX1" fmla="*/ 237167 w 2366010"/>
              <a:gd name="connsiteY1" fmla="*/ 19190 h 5146180"/>
              <a:gd name="connsiteX2" fmla="*/ 520700 w 2366010"/>
              <a:gd name="connsiteY2" fmla="*/ 17921 h 5146180"/>
              <a:gd name="connsiteX3" fmla="*/ 727710 w 2366010"/>
              <a:gd name="connsiteY3" fmla="*/ 204610 h 5146180"/>
              <a:gd name="connsiteX4" fmla="*/ 1364453 w 2366010"/>
              <a:gd name="connsiteY4" fmla="*/ 205883 h 5146180"/>
              <a:gd name="connsiteX5" fmla="*/ 1755613 w 2366010"/>
              <a:gd name="connsiteY5" fmla="*/ 190647 h 5146180"/>
              <a:gd name="connsiteX6" fmla="*/ 1857213 w 2366010"/>
              <a:gd name="connsiteY6" fmla="*/ 20463 h 5146180"/>
              <a:gd name="connsiteX7" fmla="*/ 2133923 w 2366010"/>
              <a:gd name="connsiteY7" fmla="*/ 14114 h 5146180"/>
              <a:gd name="connsiteX8" fmla="*/ 2366010 w 2366010"/>
              <a:gd name="connsiteY8" fmla="*/ 266517 h 5146180"/>
              <a:gd name="connsiteX9" fmla="*/ 2366010 w 2366010"/>
              <a:gd name="connsiteY9" fmla="*/ 4901393 h 5146180"/>
              <a:gd name="connsiteX10" fmla="*/ 2121223 w 2366010"/>
              <a:gd name="connsiteY10" fmla="*/ 5146180 h 5146180"/>
              <a:gd name="connsiteX11" fmla="*/ 244787 w 2366010"/>
              <a:gd name="connsiteY11" fmla="*/ 5146180 h 5146180"/>
              <a:gd name="connsiteX12" fmla="*/ 0 w 2366010"/>
              <a:gd name="connsiteY12" fmla="*/ 4901393 h 5146180"/>
              <a:gd name="connsiteX13" fmla="*/ 0 w 2366010"/>
              <a:gd name="connsiteY13" fmla="*/ 266517 h 5146180"/>
              <a:gd name="connsiteX0" fmla="*/ 0 w 2366010"/>
              <a:gd name="connsiteY0" fmla="*/ 267643 h 5147306"/>
              <a:gd name="connsiteX1" fmla="*/ 237167 w 2366010"/>
              <a:gd name="connsiteY1" fmla="*/ 20316 h 5147306"/>
              <a:gd name="connsiteX2" fmla="*/ 520700 w 2366010"/>
              <a:gd name="connsiteY2" fmla="*/ 19047 h 5147306"/>
              <a:gd name="connsiteX3" fmla="*/ 727710 w 2366010"/>
              <a:gd name="connsiteY3" fmla="*/ 205736 h 5147306"/>
              <a:gd name="connsiteX4" fmla="*/ 1364453 w 2366010"/>
              <a:gd name="connsiteY4" fmla="*/ 207009 h 5147306"/>
              <a:gd name="connsiteX5" fmla="*/ 1755613 w 2366010"/>
              <a:gd name="connsiteY5" fmla="*/ 191773 h 5147306"/>
              <a:gd name="connsiteX6" fmla="*/ 1857213 w 2366010"/>
              <a:gd name="connsiteY6" fmla="*/ 21589 h 5147306"/>
              <a:gd name="connsiteX7" fmla="*/ 2133923 w 2366010"/>
              <a:gd name="connsiteY7" fmla="*/ 15240 h 5147306"/>
              <a:gd name="connsiteX8" fmla="*/ 2366010 w 2366010"/>
              <a:gd name="connsiteY8" fmla="*/ 267643 h 5147306"/>
              <a:gd name="connsiteX9" fmla="*/ 2366010 w 2366010"/>
              <a:gd name="connsiteY9" fmla="*/ 4902519 h 5147306"/>
              <a:gd name="connsiteX10" fmla="*/ 2121223 w 2366010"/>
              <a:gd name="connsiteY10" fmla="*/ 5147306 h 5147306"/>
              <a:gd name="connsiteX11" fmla="*/ 244787 w 2366010"/>
              <a:gd name="connsiteY11" fmla="*/ 5147306 h 5147306"/>
              <a:gd name="connsiteX12" fmla="*/ 0 w 2366010"/>
              <a:gd name="connsiteY12" fmla="*/ 4902519 h 5147306"/>
              <a:gd name="connsiteX13" fmla="*/ 0 w 2366010"/>
              <a:gd name="connsiteY13" fmla="*/ 267643 h 5147306"/>
              <a:gd name="connsiteX0" fmla="*/ 0 w 2366010"/>
              <a:gd name="connsiteY0" fmla="*/ 267643 h 5147306"/>
              <a:gd name="connsiteX1" fmla="*/ 237167 w 2366010"/>
              <a:gd name="connsiteY1" fmla="*/ 20316 h 5147306"/>
              <a:gd name="connsiteX2" fmla="*/ 520700 w 2366010"/>
              <a:gd name="connsiteY2" fmla="*/ 19047 h 5147306"/>
              <a:gd name="connsiteX3" fmla="*/ 727710 w 2366010"/>
              <a:gd name="connsiteY3" fmla="*/ 205736 h 5147306"/>
              <a:gd name="connsiteX4" fmla="*/ 1274918 w 2366010"/>
              <a:gd name="connsiteY4" fmla="*/ 205105 h 5147306"/>
              <a:gd name="connsiteX5" fmla="*/ 1755613 w 2366010"/>
              <a:gd name="connsiteY5" fmla="*/ 191773 h 5147306"/>
              <a:gd name="connsiteX6" fmla="*/ 1857213 w 2366010"/>
              <a:gd name="connsiteY6" fmla="*/ 21589 h 5147306"/>
              <a:gd name="connsiteX7" fmla="*/ 2133923 w 2366010"/>
              <a:gd name="connsiteY7" fmla="*/ 15240 h 5147306"/>
              <a:gd name="connsiteX8" fmla="*/ 2366010 w 2366010"/>
              <a:gd name="connsiteY8" fmla="*/ 267643 h 5147306"/>
              <a:gd name="connsiteX9" fmla="*/ 2366010 w 2366010"/>
              <a:gd name="connsiteY9" fmla="*/ 4902519 h 5147306"/>
              <a:gd name="connsiteX10" fmla="*/ 2121223 w 2366010"/>
              <a:gd name="connsiteY10" fmla="*/ 5147306 h 5147306"/>
              <a:gd name="connsiteX11" fmla="*/ 244787 w 2366010"/>
              <a:gd name="connsiteY11" fmla="*/ 5147306 h 5147306"/>
              <a:gd name="connsiteX12" fmla="*/ 0 w 2366010"/>
              <a:gd name="connsiteY12" fmla="*/ 4902519 h 5147306"/>
              <a:gd name="connsiteX13" fmla="*/ 0 w 2366010"/>
              <a:gd name="connsiteY13" fmla="*/ 267643 h 5147306"/>
              <a:gd name="connsiteX0" fmla="*/ 0 w 2366010"/>
              <a:gd name="connsiteY0" fmla="*/ 267643 h 5147306"/>
              <a:gd name="connsiteX1" fmla="*/ 237167 w 2366010"/>
              <a:gd name="connsiteY1" fmla="*/ 20316 h 5147306"/>
              <a:gd name="connsiteX2" fmla="*/ 520700 w 2366010"/>
              <a:gd name="connsiteY2" fmla="*/ 19047 h 5147306"/>
              <a:gd name="connsiteX3" fmla="*/ 727710 w 2366010"/>
              <a:gd name="connsiteY3" fmla="*/ 205736 h 5147306"/>
              <a:gd name="connsiteX4" fmla="*/ 1274918 w 2366010"/>
              <a:gd name="connsiteY4" fmla="*/ 205105 h 5147306"/>
              <a:gd name="connsiteX5" fmla="*/ 1755613 w 2366010"/>
              <a:gd name="connsiteY5" fmla="*/ 191773 h 5147306"/>
              <a:gd name="connsiteX6" fmla="*/ 1857213 w 2366010"/>
              <a:gd name="connsiteY6" fmla="*/ 21589 h 5147306"/>
              <a:gd name="connsiteX7" fmla="*/ 2133923 w 2366010"/>
              <a:gd name="connsiteY7" fmla="*/ 15240 h 5147306"/>
              <a:gd name="connsiteX8" fmla="*/ 2366010 w 2366010"/>
              <a:gd name="connsiteY8" fmla="*/ 267643 h 5147306"/>
              <a:gd name="connsiteX9" fmla="*/ 2366010 w 2366010"/>
              <a:gd name="connsiteY9" fmla="*/ 4902519 h 5147306"/>
              <a:gd name="connsiteX10" fmla="*/ 2121223 w 2366010"/>
              <a:gd name="connsiteY10" fmla="*/ 5147306 h 5147306"/>
              <a:gd name="connsiteX11" fmla="*/ 244787 w 2366010"/>
              <a:gd name="connsiteY11" fmla="*/ 5147306 h 5147306"/>
              <a:gd name="connsiteX12" fmla="*/ 0 w 2366010"/>
              <a:gd name="connsiteY12" fmla="*/ 4902519 h 5147306"/>
              <a:gd name="connsiteX13" fmla="*/ 0 w 2366010"/>
              <a:gd name="connsiteY13" fmla="*/ 267643 h 5147306"/>
              <a:gd name="connsiteX0" fmla="*/ 0 w 2366010"/>
              <a:gd name="connsiteY0" fmla="*/ 267643 h 5147306"/>
              <a:gd name="connsiteX1" fmla="*/ 237167 w 2366010"/>
              <a:gd name="connsiteY1" fmla="*/ 20316 h 5147306"/>
              <a:gd name="connsiteX2" fmla="*/ 520700 w 2366010"/>
              <a:gd name="connsiteY2" fmla="*/ 19047 h 5147306"/>
              <a:gd name="connsiteX3" fmla="*/ 727710 w 2366010"/>
              <a:gd name="connsiteY3" fmla="*/ 205736 h 5147306"/>
              <a:gd name="connsiteX4" fmla="*/ 1274918 w 2366010"/>
              <a:gd name="connsiteY4" fmla="*/ 205105 h 5147306"/>
              <a:gd name="connsiteX5" fmla="*/ 1753708 w 2366010"/>
              <a:gd name="connsiteY5" fmla="*/ 189869 h 5147306"/>
              <a:gd name="connsiteX6" fmla="*/ 1857213 w 2366010"/>
              <a:gd name="connsiteY6" fmla="*/ 21589 h 5147306"/>
              <a:gd name="connsiteX7" fmla="*/ 2133923 w 2366010"/>
              <a:gd name="connsiteY7" fmla="*/ 15240 h 5147306"/>
              <a:gd name="connsiteX8" fmla="*/ 2366010 w 2366010"/>
              <a:gd name="connsiteY8" fmla="*/ 267643 h 5147306"/>
              <a:gd name="connsiteX9" fmla="*/ 2366010 w 2366010"/>
              <a:gd name="connsiteY9" fmla="*/ 4902519 h 5147306"/>
              <a:gd name="connsiteX10" fmla="*/ 2121223 w 2366010"/>
              <a:gd name="connsiteY10" fmla="*/ 5147306 h 5147306"/>
              <a:gd name="connsiteX11" fmla="*/ 244787 w 2366010"/>
              <a:gd name="connsiteY11" fmla="*/ 5147306 h 5147306"/>
              <a:gd name="connsiteX12" fmla="*/ 0 w 2366010"/>
              <a:gd name="connsiteY12" fmla="*/ 4902519 h 5147306"/>
              <a:gd name="connsiteX13" fmla="*/ 0 w 2366010"/>
              <a:gd name="connsiteY13" fmla="*/ 267643 h 5147306"/>
              <a:gd name="connsiteX0" fmla="*/ 0 w 2366010"/>
              <a:gd name="connsiteY0" fmla="*/ 267643 h 5147306"/>
              <a:gd name="connsiteX1" fmla="*/ 237167 w 2366010"/>
              <a:gd name="connsiteY1" fmla="*/ 20316 h 5147306"/>
              <a:gd name="connsiteX2" fmla="*/ 520700 w 2366010"/>
              <a:gd name="connsiteY2" fmla="*/ 19047 h 5147306"/>
              <a:gd name="connsiteX3" fmla="*/ 727710 w 2366010"/>
              <a:gd name="connsiteY3" fmla="*/ 205736 h 5147306"/>
              <a:gd name="connsiteX4" fmla="*/ 1274918 w 2366010"/>
              <a:gd name="connsiteY4" fmla="*/ 205105 h 5147306"/>
              <a:gd name="connsiteX5" fmla="*/ 1753708 w 2366010"/>
              <a:gd name="connsiteY5" fmla="*/ 189869 h 5147306"/>
              <a:gd name="connsiteX6" fmla="*/ 1857213 w 2366010"/>
              <a:gd name="connsiteY6" fmla="*/ 21589 h 5147306"/>
              <a:gd name="connsiteX7" fmla="*/ 2133923 w 2366010"/>
              <a:gd name="connsiteY7" fmla="*/ 15240 h 5147306"/>
              <a:gd name="connsiteX8" fmla="*/ 2366010 w 2366010"/>
              <a:gd name="connsiteY8" fmla="*/ 267643 h 5147306"/>
              <a:gd name="connsiteX9" fmla="*/ 2366010 w 2366010"/>
              <a:gd name="connsiteY9" fmla="*/ 4902519 h 5147306"/>
              <a:gd name="connsiteX10" fmla="*/ 2121223 w 2366010"/>
              <a:gd name="connsiteY10" fmla="*/ 5147306 h 5147306"/>
              <a:gd name="connsiteX11" fmla="*/ 244787 w 2366010"/>
              <a:gd name="connsiteY11" fmla="*/ 5147306 h 5147306"/>
              <a:gd name="connsiteX12" fmla="*/ 0 w 2366010"/>
              <a:gd name="connsiteY12" fmla="*/ 4902519 h 5147306"/>
              <a:gd name="connsiteX13" fmla="*/ 0 w 2366010"/>
              <a:gd name="connsiteY13" fmla="*/ 267643 h 5147306"/>
              <a:gd name="connsiteX0" fmla="*/ 0 w 2366010"/>
              <a:gd name="connsiteY0" fmla="*/ 256648 h 5136311"/>
              <a:gd name="connsiteX1" fmla="*/ 237167 w 2366010"/>
              <a:gd name="connsiteY1" fmla="*/ 9321 h 5136311"/>
              <a:gd name="connsiteX2" fmla="*/ 520700 w 2366010"/>
              <a:gd name="connsiteY2" fmla="*/ 8052 h 5136311"/>
              <a:gd name="connsiteX3" fmla="*/ 727710 w 2366010"/>
              <a:gd name="connsiteY3" fmla="*/ 194741 h 5136311"/>
              <a:gd name="connsiteX4" fmla="*/ 1274918 w 2366010"/>
              <a:gd name="connsiteY4" fmla="*/ 194110 h 5136311"/>
              <a:gd name="connsiteX5" fmla="*/ 1753708 w 2366010"/>
              <a:gd name="connsiteY5" fmla="*/ 178874 h 5136311"/>
              <a:gd name="connsiteX6" fmla="*/ 1857213 w 2366010"/>
              <a:gd name="connsiteY6" fmla="*/ 10594 h 5136311"/>
              <a:gd name="connsiteX7" fmla="*/ 2133923 w 2366010"/>
              <a:gd name="connsiteY7" fmla="*/ 4245 h 5136311"/>
              <a:gd name="connsiteX8" fmla="*/ 2366010 w 2366010"/>
              <a:gd name="connsiteY8" fmla="*/ 256648 h 5136311"/>
              <a:gd name="connsiteX9" fmla="*/ 2366010 w 2366010"/>
              <a:gd name="connsiteY9" fmla="*/ 4891524 h 5136311"/>
              <a:gd name="connsiteX10" fmla="*/ 2121223 w 2366010"/>
              <a:gd name="connsiteY10" fmla="*/ 5136311 h 5136311"/>
              <a:gd name="connsiteX11" fmla="*/ 244787 w 2366010"/>
              <a:gd name="connsiteY11" fmla="*/ 5136311 h 5136311"/>
              <a:gd name="connsiteX12" fmla="*/ 0 w 2366010"/>
              <a:gd name="connsiteY12" fmla="*/ 4891524 h 5136311"/>
              <a:gd name="connsiteX13" fmla="*/ 0 w 2366010"/>
              <a:gd name="connsiteY13" fmla="*/ 256648 h 5136311"/>
              <a:gd name="connsiteX0" fmla="*/ 0 w 2366010"/>
              <a:gd name="connsiteY0" fmla="*/ 256648 h 5136311"/>
              <a:gd name="connsiteX1" fmla="*/ 237167 w 2366010"/>
              <a:gd name="connsiteY1" fmla="*/ 9321 h 5136311"/>
              <a:gd name="connsiteX2" fmla="*/ 520700 w 2366010"/>
              <a:gd name="connsiteY2" fmla="*/ 8052 h 5136311"/>
              <a:gd name="connsiteX3" fmla="*/ 727710 w 2366010"/>
              <a:gd name="connsiteY3" fmla="*/ 194741 h 5136311"/>
              <a:gd name="connsiteX4" fmla="*/ 1274918 w 2366010"/>
              <a:gd name="connsiteY4" fmla="*/ 194110 h 5136311"/>
              <a:gd name="connsiteX5" fmla="*/ 1753708 w 2366010"/>
              <a:gd name="connsiteY5" fmla="*/ 178874 h 5136311"/>
              <a:gd name="connsiteX6" fmla="*/ 1857213 w 2366010"/>
              <a:gd name="connsiteY6" fmla="*/ 10594 h 5136311"/>
              <a:gd name="connsiteX7" fmla="*/ 2133923 w 2366010"/>
              <a:gd name="connsiteY7" fmla="*/ 4245 h 5136311"/>
              <a:gd name="connsiteX8" fmla="*/ 2366010 w 2366010"/>
              <a:gd name="connsiteY8" fmla="*/ 256648 h 5136311"/>
              <a:gd name="connsiteX9" fmla="*/ 2366010 w 2366010"/>
              <a:gd name="connsiteY9" fmla="*/ 4891524 h 5136311"/>
              <a:gd name="connsiteX10" fmla="*/ 2121223 w 2366010"/>
              <a:gd name="connsiteY10" fmla="*/ 5136311 h 5136311"/>
              <a:gd name="connsiteX11" fmla="*/ 244787 w 2366010"/>
              <a:gd name="connsiteY11" fmla="*/ 5136311 h 5136311"/>
              <a:gd name="connsiteX12" fmla="*/ 0 w 2366010"/>
              <a:gd name="connsiteY12" fmla="*/ 4891524 h 5136311"/>
              <a:gd name="connsiteX13" fmla="*/ 0 w 2366010"/>
              <a:gd name="connsiteY13" fmla="*/ 256648 h 5136311"/>
              <a:gd name="connsiteX0" fmla="*/ 0 w 2366010"/>
              <a:gd name="connsiteY0" fmla="*/ 256648 h 5136311"/>
              <a:gd name="connsiteX1" fmla="*/ 237167 w 2366010"/>
              <a:gd name="connsiteY1" fmla="*/ 9321 h 5136311"/>
              <a:gd name="connsiteX2" fmla="*/ 520700 w 2366010"/>
              <a:gd name="connsiteY2" fmla="*/ 8052 h 5136311"/>
              <a:gd name="connsiteX3" fmla="*/ 727710 w 2366010"/>
              <a:gd name="connsiteY3" fmla="*/ 194741 h 5136311"/>
              <a:gd name="connsiteX4" fmla="*/ 1274918 w 2366010"/>
              <a:gd name="connsiteY4" fmla="*/ 194110 h 5136311"/>
              <a:gd name="connsiteX5" fmla="*/ 1753708 w 2366010"/>
              <a:gd name="connsiteY5" fmla="*/ 178874 h 5136311"/>
              <a:gd name="connsiteX6" fmla="*/ 1857213 w 2366010"/>
              <a:gd name="connsiteY6" fmla="*/ 10594 h 5136311"/>
              <a:gd name="connsiteX7" fmla="*/ 2133923 w 2366010"/>
              <a:gd name="connsiteY7" fmla="*/ 4245 h 5136311"/>
              <a:gd name="connsiteX8" fmla="*/ 2366010 w 2366010"/>
              <a:gd name="connsiteY8" fmla="*/ 256648 h 5136311"/>
              <a:gd name="connsiteX9" fmla="*/ 2366010 w 2366010"/>
              <a:gd name="connsiteY9" fmla="*/ 4891524 h 5136311"/>
              <a:gd name="connsiteX10" fmla="*/ 2121223 w 2366010"/>
              <a:gd name="connsiteY10" fmla="*/ 5136311 h 5136311"/>
              <a:gd name="connsiteX11" fmla="*/ 244787 w 2366010"/>
              <a:gd name="connsiteY11" fmla="*/ 5136311 h 5136311"/>
              <a:gd name="connsiteX12" fmla="*/ 0 w 2366010"/>
              <a:gd name="connsiteY12" fmla="*/ 4891524 h 5136311"/>
              <a:gd name="connsiteX13" fmla="*/ 0 w 2366010"/>
              <a:gd name="connsiteY13" fmla="*/ 256648 h 5136311"/>
              <a:gd name="connsiteX0" fmla="*/ 0 w 2366010"/>
              <a:gd name="connsiteY0" fmla="*/ 256648 h 5136311"/>
              <a:gd name="connsiteX1" fmla="*/ 237167 w 2366010"/>
              <a:gd name="connsiteY1" fmla="*/ 9321 h 5136311"/>
              <a:gd name="connsiteX2" fmla="*/ 520700 w 2366010"/>
              <a:gd name="connsiteY2" fmla="*/ 8052 h 5136311"/>
              <a:gd name="connsiteX3" fmla="*/ 727710 w 2366010"/>
              <a:gd name="connsiteY3" fmla="*/ 194741 h 5136311"/>
              <a:gd name="connsiteX4" fmla="*/ 1274918 w 2366010"/>
              <a:gd name="connsiteY4" fmla="*/ 194110 h 5136311"/>
              <a:gd name="connsiteX5" fmla="*/ 1753708 w 2366010"/>
              <a:gd name="connsiteY5" fmla="*/ 178874 h 5136311"/>
              <a:gd name="connsiteX6" fmla="*/ 1857213 w 2366010"/>
              <a:gd name="connsiteY6" fmla="*/ 10594 h 5136311"/>
              <a:gd name="connsiteX7" fmla="*/ 2133923 w 2366010"/>
              <a:gd name="connsiteY7" fmla="*/ 4245 h 5136311"/>
              <a:gd name="connsiteX8" fmla="*/ 2366010 w 2366010"/>
              <a:gd name="connsiteY8" fmla="*/ 256648 h 5136311"/>
              <a:gd name="connsiteX9" fmla="*/ 2366010 w 2366010"/>
              <a:gd name="connsiteY9" fmla="*/ 4891524 h 5136311"/>
              <a:gd name="connsiteX10" fmla="*/ 2121223 w 2366010"/>
              <a:gd name="connsiteY10" fmla="*/ 5136311 h 5136311"/>
              <a:gd name="connsiteX11" fmla="*/ 244787 w 2366010"/>
              <a:gd name="connsiteY11" fmla="*/ 5136311 h 5136311"/>
              <a:gd name="connsiteX12" fmla="*/ 0 w 2366010"/>
              <a:gd name="connsiteY12" fmla="*/ 4891524 h 5136311"/>
              <a:gd name="connsiteX13" fmla="*/ 0 w 2366010"/>
              <a:gd name="connsiteY13" fmla="*/ 256648 h 5136311"/>
              <a:gd name="connsiteX0" fmla="*/ 0 w 2366010"/>
              <a:gd name="connsiteY0" fmla="*/ 256648 h 5136311"/>
              <a:gd name="connsiteX1" fmla="*/ 237167 w 2366010"/>
              <a:gd name="connsiteY1" fmla="*/ 9321 h 5136311"/>
              <a:gd name="connsiteX2" fmla="*/ 520700 w 2366010"/>
              <a:gd name="connsiteY2" fmla="*/ 8052 h 5136311"/>
              <a:gd name="connsiteX3" fmla="*/ 727710 w 2366010"/>
              <a:gd name="connsiteY3" fmla="*/ 194741 h 5136311"/>
              <a:gd name="connsiteX4" fmla="*/ 1274918 w 2366010"/>
              <a:gd name="connsiteY4" fmla="*/ 194110 h 5136311"/>
              <a:gd name="connsiteX5" fmla="*/ 1758788 w 2366010"/>
              <a:gd name="connsiteY5" fmla="*/ 173797 h 5136311"/>
              <a:gd name="connsiteX6" fmla="*/ 1857213 w 2366010"/>
              <a:gd name="connsiteY6" fmla="*/ 10594 h 5136311"/>
              <a:gd name="connsiteX7" fmla="*/ 2133923 w 2366010"/>
              <a:gd name="connsiteY7" fmla="*/ 4245 h 5136311"/>
              <a:gd name="connsiteX8" fmla="*/ 2366010 w 2366010"/>
              <a:gd name="connsiteY8" fmla="*/ 256648 h 5136311"/>
              <a:gd name="connsiteX9" fmla="*/ 2366010 w 2366010"/>
              <a:gd name="connsiteY9" fmla="*/ 4891524 h 5136311"/>
              <a:gd name="connsiteX10" fmla="*/ 2121223 w 2366010"/>
              <a:gd name="connsiteY10" fmla="*/ 5136311 h 5136311"/>
              <a:gd name="connsiteX11" fmla="*/ 244787 w 2366010"/>
              <a:gd name="connsiteY11" fmla="*/ 5136311 h 5136311"/>
              <a:gd name="connsiteX12" fmla="*/ 0 w 2366010"/>
              <a:gd name="connsiteY12" fmla="*/ 4891524 h 5136311"/>
              <a:gd name="connsiteX13" fmla="*/ 0 w 2366010"/>
              <a:gd name="connsiteY13" fmla="*/ 256648 h 5136311"/>
              <a:gd name="connsiteX0" fmla="*/ 0 w 2366010"/>
              <a:gd name="connsiteY0" fmla="*/ 256648 h 5136311"/>
              <a:gd name="connsiteX1" fmla="*/ 237167 w 2366010"/>
              <a:gd name="connsiteY1" fmla="*/ 9321 h 5136311"/>
              <a:gd name="connsiteX2" fmla="*/ 520700 w 2366010"/>
              <a:gd name="connsiteY2" fmla="*/ 8052 h 5136311"/>
              <a:gd name="connsiteX3" fmla="*/ 732790 w 2366010"/>
              <a:gd name="connsiteY3" fmla="*/ 189664 h 5136311"/>
              <a:gd name="connsiteX4" fmla="*/ 1274918 w 2366010"/>
              <a:gd name="connsiteY4" fmla="*/ 194110 h 5136311"/>
              <a:gd name="connsiteX5" fmla="*/ 1758788 w 2366010"/>
              <a:gd name="connsiteY5" fmla="*/ 173797 h 5136311"/>
              <a:gd name="connsiteX6" fmla="*/ 1857213 w 2366010"/>
              <a:gd name="connsiteY6" fmla="*/ 10594 h 5136311"/>
              <a:gd name="connsiteX7" fmla="*/ 2133923 w 2366010"/>
              <a:gd name="connsiteY7" fmla="*/ 4245 h 5136311"/>
              <a:gd name="connsiteX8" fmla="*/ 2366010 w 2366010"/>
              <a:gd name="connsiteY8" fmla="*/ 256648 h 5136311"/>
              <a:gd name="connsiteX9" fmla="*/ 2366010 w 2366010"/>
              <a:gd name="connsiteY9" fmla="*/ 4891524 h 5136311"/>
              <a:gd name="connsiteX10" fmla="*/ 2121223 w 2366010"/>
              <a:gd name="connsiteY10" fmla="*/ 5136311 h 5136311"/>
              <a:gd name="connsiteX11" fmla="*/ 244787 w 2366010"/>
              <a:gd name="connsiteY11" fmla="*/ 5136311 h 5136311"/>
              <a:gd name="connsiteX12" fmla="*/ 0 w 2366010"/>
              <a:gd name="connsiteY12" fmla="*/ 4891524 h 5136311"/>
              <a:gd name="connsiteX13" fmla="*/ 0 w 2366010"/>
              <a:gd name="connsiteY13" fmla="*/ 256648 h 5136311"/>
              <a:gd name="connsiteX0" fmla="*/ 18234 w 2384244"/>
              <a:gd name="connsiteY0" fmla="*/ 256648 h 5136311"/>
              <a:gd name="connsiteX1" fmla="*/ 255401 w 2384244"/>
              <a:gd name="connsiteY1" fmla="*/ 9321 h 5136311"/>
              <a:gd name="connsiteX2" fmla="*/ 538934 w 2384244"/>
              <a:gd name="connsiteY2" fmla="*/ 8052 h 5136311"/>
              <a:gd name="connsiteX3" fmla="*/ 751024 w 2384244"/>
              <a:gd name="connsiteY3" fmla="*/ 189664 h 5136311"/>
              <a:gd name="connsiteX4" fmla="*/ 1293152 w 2384244"/>
              <a:gd name="connsiteY4" fmla="*/ 194110 h 5136311"/>
              <a:gd name="connsiteX5" fmla="*/ 1777022 w 2384244"/>
              <a:gd name="connsiteY5" fmla="*/ 173797 h 5136311"/>
              <a:gd name="connsiteX6" fmla="*/ 1875447 w 2384244"/>
              <a:gd name="connsiteY6" fmla="*/ 10594 h 5136311"/>
              <a:gd name="connsiteX7" fmla="*/ 2152157 w 2384244"/>
              <a:gd name="connsiteY7" fmla="*/ 4245 h 5136311"/>
              <a:gd name="connsiteX8" fmla="*/ 2384244 w 2384244"/>
              <a:gd name="connsiteY8" fmla="*/ 256648 h 5136311"/>
              <a:gd name="connsiteX9" fmla="*/ 2384244 w 2384244"/>
              <a:gd name="connsiteY9" fmla="*/ 4891524 h 5136311"/>
              <a:gd name="connsiteX10" fmla="*/ 2139457 w 2384244"/>
              <a:gd name="connsiteY10" fmla="*/ 5136311 h 5136311"/>
              <a:gd name="connsiteX11" fmla="*/ 263021 w 2384244"/>
              <a:gd name="connsiteY11" fmla="*/ 5136311 h 5136311"/>
              <a:gd name="connsiteX12" fmla="*/ 18234 w 2384244"/>
              <a:gd name="connsiteY12" fmla="*/ 4891524 h 5136311"/>
              <a:gd name="connsiteX13" fmla="*/ 0 w 2384244"/>
              <a:gd name="connsiteY13" fmla="*/ 3346754 h 5136311"/>
              <a:gd name="connsiteX14" fmla="*/ 18234 w 2384244"/>
              <a:gd name="connsiteY14" fmla="*/ 256648 h 5136311"/>
              <a:gd name="connsiteX0" fmla="*/ 18234 w 2384244"/>
              <a:gd name="connsiteY0" fmla="*/ 334285 h 5213948"/>
              <a:gd name="connsiteX1" fmla="*/ 255401 w 2384244"/>
              <a:gd name="connsiteY1" fmla="*/ 86958 h 5213948"/>
              <a:gd name="connsiteX2" fmla="*/ 538934 w 2384244"/>
              <a:gd name="connsiteY2" fmla="*/ 85689 h 5213948"/>
              <a:gd name="connsiteX3" fmla="*/ 751024 w 2384244"/>
              <a:gd name="connsiteY3" fmla="*/ 267301 h 5213948"/>
              <a:gd name="connsiteX4" fmla="*/ 1293152 w 2384244"/>
              <a:gd name="connsiteY4" fmla="*/ 271747 h 5213948"/>
              <a:gd name="connsiteX5" fmla="*/ 1777022 w 2384244"/>
              <a:gd name="connsiteY5" fmla="*/ 251434 h 5213948"/>
              <a:gd name="connsiteX6" fmla="*/ 1875447 w 2384244"/>
              <a:gd name="connsiteY6" fmla="*/ 88231 h 5213948"/>
              <a:gd name="connsiteX7" fmla="*/ 2152157 w 2384244"/>
              <a:gd name="connsiteY7" fmla="*/ 81882 h 5213948"/>
              <a:gd name="connsiteX8" fmla="*/ 2384244 w 2384244"/>
              <a:gd name="connsiteY8" fmla="*/ 334285 h 5213948"/>
              <a:gd name="connsiteX9" fmla="*/ 2379641 w 2384244"/>
              <a:gd name="connsiteY9" fmla="*/ 3424391 h 5213948"/>
              <a:gd name="connsiteX10" fmla="*/ 2384244 w 2384244"/>
              <a:gd name="connsiteY10" fmla="*/ 4969161 h 5213948"/>
              <a:gd name="connsiteX11" fmla="*/ 2139457 w 2384244"/>
              <a:gd name="connsiteY11" fmla="*/ 5213948 h 5213948"/>
              <a:gd name="connsiteX12" fmla="*/ 263021 w 2384244"/>
              <a:gd name="connsiteY12" fmla="*/ 5213948 h 5213948"/>
              <a:gd name="connsiteX13" fmla="*/ 18234 w 2384244"/>
              <a:gd name="connsiteY13" fmla="*/ 4969161 h 5213948"/>
              <a:gd name="connsiteX14" fmla="*/ 0 w 2384244"/>
              <a:gd name="connsiteY14" fmla="*/ 3424391 h 5213948"/>
              <a:gd name="connsiteX15" fmla="*/ 18234 w 2384244"/>
              <a:gd name="connsiteY15" fmla="*/ 334285 h 5213948"/>
              <a:gd name="connsiteX0" fmla="*/ 18234 w 2384244"/>
              <a:gd name="connsiteY0" fmla="*/ 256648 h 5136311"/>
              <a:gd name="connsiteX1" fmla="*/ 255401 w 2384244"/>
              <a:gd name="connsiteY1" fmla="*/ 9321 h 5136311"/>
              <a:gd name="connsiteX2" fmla="*/ 538934 w 2384244"/>
              <a:gd name="connsiteY2" fmla="*/ 8052 h 5136311"/>
              <a:gd name="connsiteX3" fmla="*/ 751024 w 2384244"/>
              <a:gd name="connsiteY3" fmla="*/ 189664 h 5136311"/>
              <a:gd name="connsiteX4" fmla="*/ 1293152 w 2384244"/>
              <a:gd name="connsiteY4" fmla="*/ 194110 h 5136311"/>
              <a:gd name="connsiteX5" fmla="*/ 1777022 w 2384244"/>
              <a:gd name="connsiteY5" fmla="*/ 173797 h 5136311"/>
              <a:gd name="connsiteX6" fmla="*/ 1875447 w 2384244"/>
              <a:gd name="connsiteY6" fmla="*/ 10594 h 5136311"/>
              <a:gd name="connsiteX7" fmla="*/ 2152157 w 2384244"/>
              <a:gd name="connsiteY7" fmla="*/ 4245 h 5136311"/>
              <a:gd name="connsiteX8" fmla="*/ 2384244 w 2384244"/>
              <a:gd name="connsiteY8" fmla="*/ 256648 h 5136311"/>
              <a:gd name="connsiteX9" fmla="*/ 2379641 w 2384244"/>
              <a:gd name="connsiteY9" fmla="*/ 3346754 h 5136311"/>
              <a:gd name="connsiteX10" fmla="*/ 2384244 w 2384244"/>
              <a:gd name="connsiteY10" fmla="*/ 4891524 h 5136311"/>
              <a:gd name="connsiteX11" fmla="*/ 2139457 w 2384244"/>
              <a:gd name="connsiteY11" fmla="*/ 5136311 h 5136311"/>
              <a:gd name="connsiteX12" fmla="*/ 263021 w 2384244"/>
              <a:gd name="connsiteY12" fmla="*/ 5136311 h 5136311"/>
              <a:gd name="connsiteX13" fmla="*/ 18234 w 2384244"/>
              <a:gd name="connsiteY13" fmla="*/ 4891524 h 5136311"/>
              <a:gd name="connsiteX14" fmla="*/ 0 w 2384244"/>
              <a:gd name="connsiteY14" fmla="*/ 3346754 h 5136311"/>
              <a:gd name="connsiteX15" fmla="*/ 18234 w 2384244"/>
              <a:gd name="connsiteY15" fmla="*/ 256648 h 5136311"/>
              <a:gd name="connsiteX0" fmla="*/ 18234 w 2384244"/>
              <a:gd name="connsiteY0" fmla="*/ 256648 h 5136311"/>
              <a:gd name="connsiteX1" fmla="*/ 255401 w 2384244"/>
              <a:gd name="connsiteY1" fmla="*/ 9321 h 5136311"/>
              <a:gd name="connsiteX2" fmla="*/ 538934 w 2384244"/>
              <a:gd name="connsiteY2" fmla="*/ 8052 h 5136311"/>
              <a:gd name="connsiteX3" fmla="*/ 751024 w 2384244"/>
              <a:gd name="connsiteY3" fmla="*/ 189664 h 5136311"/>
              <a:gd name="connsiteX4" fmla="*/ 1293152 w 2384244"/>
              <a:gd name="connsiteY4" fmla="*/ 194110 h 5136311"/>
              <a:gd name="connsiteX5" fmla="*/ 1777022 w 2384244"/>
              <a:gd name="connsiteY5" fmla="*/ 173797 h 5136311"/>
              <a:gd name="connsiteX6" fmla="*/ 1875447 w 2384244"/>
              <a:gd name="connsiteY6" fmla="*/ 10594 h 5136311"/>
              <a:gd name="connsiteX7" fmla="*/ 2152157 w 2384244"/>
              <a:gd name="connsiteY7" fmla="*/ 4245 h 5136311"/>
              <a:gd name="connsiteX8" fmla="*/ 2384244 w 2384244"/>
              <a:gd name="connsiteY8" fmla="*/ 256648 h 5136311"/>
              <a:gd name="connsiteX9" fmla="*/ 2379641 w 2384244"/>
              <a:gd name="connsiteY9" fmla="*/ 3346754 h 5136311"/>
              <a:gd name="connsiteX10" fmla="*/ 2384244 w 2384244"/>
              <a:gd name="connsiteY10" fmla="*/ 4891524 h 5136311"/>
              <a:gd name="connsiteX11" fmla="*/ 2139457 w 2384244"/>
              <a:gd name="connsiteY11" fmla="*/ 5136311 h 5136311"/>
              <a:gd name="connsiteX12" fmla="*/ 263021 w 2384244"/>
              <a:gd name="connsiteY12" fmla="*/ 5136311 h 5136311"/>
              <a:gd name="connsiteX13" fmla="*/ 18234 w 2384244"/>
              <a:gd name="connsiteY13" fmla="*/ 4891524 h 5136311"/>
              <a:gd name="connsiteX14" fmla="*/ 0 w 2384244"/>
              <a:gd name="connsiteY14" fmla="*/ 3346754 h 5136311"/>
              <a:gd name="connsiteX15" fmla="*/ 18234 w 2384244"/>
              <a:gd name="connsiteY15" fmla="*/ 256648 h 5136311"/>
              <a:gd name="connsiteX0" fmla="*/ 18234 w 2384244"/>
              <a:gd name="connsiteY0" fmla="*/ 256648 h 5136311"/>
              <a:gd name="connsiteX1" fmla="*/ 255401 w 2384244"/>
              <a:gd name="connsiteY1" fmla="*/ 9321 h 5136311"/>
              <a:gd name="connsiteX2" fmla="*/ 538934 w 2384244"/>
              <a:gd name="connsiteY2" fmla="*/ 8052 h 5136311"/>
              <a:gd name="connsiteX3" fmla="*/ 751024 w 2384244"/>
              <a:gd name="connsiteY3" fmla="*/ 189664 h 5136311"/>
              <a:gd name="connsiteX4" fmla="*/ 1293152 w 2384244"/>
              <a:gd name="connsiteY4" fmla="*/ 194110 h 5136311"/>
              <a:gd name="connsiteX5" fmla="*/ 1777022 w 2384244"/>
              <a:gd name="connsiteY5" fmla="*/ 173797 h 5136311"/>
              <a:gd name="connsiteX6" fmla="*/ 1875447 w 2384244"/>
              <a:gd name="connsiteY6" fmla="*/ 10594 h 5136311"/>
              <a:gd name="connsiteX7" fmla="*/ 2152157 w 2384244"/>
              <a:gd name="connsiteY7" fmla="*/ 4245 h 5136311"/>
              <a:gd name="connsiteX8" fmla="*/ 2384244 w 2384244"/>
              <a:gd name="connsiteY8" fmla="*/ 256648 h 5136311"/>
              <a:gd name="connsiteX9" fmla="*/ 2379641 w 2384244"/>
              <a:gd name="connsiteY9" fmla="*/ 3346754 h 5136311"/>
              <a:gd name="connsiteX10" fmla="*/ 2384244 w 2384244"/>
              <a:gd name="connsiteY10" fmla="*/ 4891524 h 5136311"/>
              <a:gd name="connsiteX11" fmla="*/ 2139457 w 2384244"/>
              <a:gd name="connsiteY11" fmla="*/ 5136311 h 5136311"/>
              <a:gd name="connsiteX12" fmla="*/ 263021 w 2384244"/>
              <a:gd name="connsiteY12" fmla="*/ 5136311 h 5136311"/>
              <a:gd name="connsiteX13" fmla="*/ 18234 w 2384244"/>
              <a:gd name="connsiteY13" fmla="*/ 4891524 h 5136311"/>
              <a:gd name="connsiteX14" fmla="*/ 0 w 2384244"/>
              <a:gd name="connsiteY14" fmla="*/ 3346754 h 5136311"/>
              <a:gd name="connsiteX15" fmla="*/ 18234 w 2384244"/>
              <a:gd name="connsiteY15" fmla="*/ 256648 h 5136311"/>
              <a:gd name="connsiteX0" fmla="*/ 18234 w 2384244"/>
              <a:gd name="connsiteY0" fmla="*/ 256648 h 5136311"/>
              <a:gd name="connsiteX1" fmla="*/ 255401 w 2384244"/>
              <a:gd name="connsiteY1" fmla="*/ 9321 h 5136311"/>
              <a:gd name="connsiteX2" fmla="*/ 538934 w 2384244"/>
              <a:gd name="connsiteY2" fmla="*/ 8052 h 5136311"/>
              <a:gd name="connsiteX3" fmla="*/ 751024 w 2384244"/>
              <a:gd name="connsiteY3" fmla="*/ 189664 h 5136311"/>
              <a:gd name="connsiteX4" fmla="*/ 1293152 w 2384244"/>
              <a:gd name="connsiteY4" fmla="*/ 194110 h 5136311"/>
              <a:gd name="connsiteX5" fmla="*/ 1777022 w 2384244"/>
              <a:gd name="connsiteY5" fmla="*/ 173797 h 5136311"/>
              <a:gd name="connsiteX6" fmla="*/ 1875447 w 2384244"/>
              <a:gd name="connsiteY6" fmla="*/ 10594 h 5136311"/>
              <a:gd name="connsiteX7" fmla="*/ 2152157 w 2384244"/>
              <a:gd name="connsiteY7" fmla="*/ 4245 h 5136311"/>
              <a:gd name="connsiteX8" fmla="*/ 2384244 w 2384244"/>
              <a:gd name="connsiteY8" fmla="*/ 256648 h 5136311"/>
              <a:gd name="connsiteX9" fmla="*/ 2379641 w 2384244"/>
              <a:gd name="connsiteY9" fmla="*/ 3346754 h 5136311"/>
              <a:gd name="connsiteX10" fmla="*/ 2384244 w 2384244"/>
              <a:gd name="connsiteY10" fmla="*/ 4891524 h 5136311"/>
              <a:gd name="connsiteX11" fmla="*/ 2139457 w 2384244"/>
              <a:gd name="connsiteY11" fmla="*/ 5136311 h 5136311"/>
              <a:gd name="connsiteX12" fmla="*/ 263021 w 2384244"/>
              <a:gd name="connsiteY12" fmla="*/ 5136311 h 5136311"/>
              <a:gd name="connsiteX13" fmla="*/ 0 w 2384244"/>
              <a:gd name="connsiteY13" fmla="*/ 3346754 h 5136311"/>
              <a:gd name="connsiteX14" fmla="*/ 18234 w 2384244"/>
              <a:gd name="connsiteY14" fmla="*/ 256648 h 5136311"/>
              <a:gd name="connsiteX0" fmla="*/ 18234 w 2384244"/>
              <a:gd name="connsiteY0" fmla="*/ 256648 h 5136311"/>
              <a:gd name="connsiteX1" fmla="*/ 255401 w 2384244"/>
              <a:gd name="connsiteY1" fmla="*/ 9321 h 5136311"/>
              <a:gd name="connsiteX2" fmla="*/ 538934 w 2384244"/>
              <a:gd name="connsiteY2" fmla="*/ 8052 h 5136311"/>
              <a:gd name="connsiteX3" fmla="*/ 751024 w 2384244"/>
              <a:gd name="connsiteY3" fmla="*/ 189664 h 5136311"/>
              <a:gd name="connsiteX4" fmla="*/ 1293152 w 2384244"/>
              <a:gd name="connsiteY4" fmla="*/ 194110 h 5136311"/>
              <a:gd name="connsiteX5" fmla="*/ 1777022 w 2384244"/>
              <a:gd name="connsiteY5" fmla="*/ 173797 h 5136311"/>
              <a:gd name="connsiteX6" fmla="*/ 1875447 w 2384244"/>
              <a:gd name="connsiteY6" fmla="*/ 10594 h 5136311"/>
              <a:gd name="connsiteX7" fmla="*/ 2152157 w 2384244"/>
              <a:gd name="connsiteY7" fmla="*/ 4245 h 5136311"/>
              <a:gd name="connsiteX8" fmla="*/ 2384244 w 2384244"/>
              <a:gd name="connsiteY8" fmla="*/ 256648 h 5136311"/>
              <a:gd name="connsiteX9" fmla="*/ 2379641 w 2384244"/>
              <a:gd name="connsiteY9" fmla="*/ 3346754 h 5136311"/>
              <a:gd name="connsiteX10" fmla="*/ 2384244 w 2384244"/>
              <a:gd name="connsiteY10" fmla="*/ 4891524 h 5136311"/>
              <a:gd name="connsiteX11" fmla="*/ 2139457 w 2384244"/>
              <a:gd name="connsiteY11" fmla="*/ 5136311 h 5136311"/>
              <a:gd name="connsiteX12" fmla="*/ 0 w 2384244"/>
              <a:gd name="connsiteY12" fmla="*/ 3346754 h 5136311"/>
              <a:gd name="connsiteX13" fmla="*/ 18234 w 2384244"/>
              <a:gd name="connsiteY13" fmla="*/ 256648 h 5136311"/>
              <a:gd name="connsiteX0" fmla="*/ 18234 w 2384244"/>
              <a:gd name="connsiteY0" fmla="*/ 256648 h 4891524"/>
              <a:gd name="connsiteX1" fmla="*/ 255401 w 2384244"/>
              <a:gd name="connsiteY1" fmla="*/ 9321 h 4891524"/>
              <a:gd name="connsiteX2" fmla="*/ 538934 w 2384244"/>
              <a:gd name="connsiteY2" fmla="*/ 8052 h 4891524"/>
              <a:gd name="connsiteX3" fmla="*/ 751024 w 2384244"/>
              <a:gd name="connsiteY3" fmla="*/ 189664 h 4891524"/>
              <a:gd name="connsiteX4" fmla="*/ 1293152 w 2384244"/>
              <a:gd name="connsiteY4" fmla="*/ 194110 h 4891524"/>
              <a:gd name="connsiteX5" fmla="*/ 1777022 w 2384244"/>
              <a:gd name="connsiteY5" fmla="*/ 173797 h 4891524"/>
              <a:gd name="connsiteX6" fmla="*/ 1875447 w 2384244"/>
              <a:gd name="connsiteY6" fmla="*/ 10594 h 4891524"/>
              <a:gd name="connsiteX7" fmla="*/ 2152157 w 2384244"/>
              <a:gd name="connsiteY7" fmla="*/ 4245 h 4891524"/>
              <a:gd name="connsiteX8" fmla="*/ 2384244 w 2384244"/>
              <a:gd name="connsiteY8" fmla="*/ 256648 h 4891524"/>
              <a:gd name="connsiteX9" fmla="*/ 2379641 w 2384244"/>
              <a:gd name="connsiteY9" fmla="*/ 3346754 h 4891524"/>
              <a:gd name="connsiteX10" fmla="*/ 2384244 w 2384244"/>
              <a:gd name="connsiteY10" fmla="*/ 4891524 h 4891524"/>
              <a:gd name="connsiteX11" fmla="*/ 0 w 2384244"/>
              <a:gd name="connsiteY11" fmla="*/ 3346754 h 4891524"/>
              <a:gd name="connsiteX12" fmla="*/ 18234 w 2384244"/>
              <a:gd name="connsiteY12" fmla="*/ 256648 h 4891524"/>
              <a:gd name="connsiteX0" fmla="*/ 18234 w 2384244"/>
              <a:gd name="connsiteY0" fmla="*/ 256648 h 3733017"/>
              <a:gd name="connsiteX1" fmla="*/ 255401 w 2384244"/>
              <a:gd name="connsiteY1" fmla="*/ 9321 h 3733017"/>
              <a:gd name="connsiteX2" fmla="*/ 538934 w 2384244"/>
              <a:gd name="connsiteY2" fmla="*/ 8052 h 3733017"/>
              <a:gd name="connsiteX3" fmla="*/ 751024 w 2384244"/>
              <a:gd name="connsiteY3" fmla="*/ 189664 h 3733017"/>
              <a:gd name="connsiteX4" fmla="*/ 1293152 w 2384244"/>
              <a:gd name="connsiteY4" fmla="*/ 194110 h 3733017"/>
              <a:gd name="connsiteX5" fmla="*/ 1777022 w 2384244"/>
              <a:gd name="connsiteY5" fmla="*/ 173797 h 3733017"/>
              <a:gd name="connsiteX6" fmla="*/ 1875447 w 2384244"/>
              <a:gd name="connsiteY6" fmla="*/ 10594 h 3733017"/>
              <a:gd name="connsiteX7" fmla="*/ 2152157 w 2384244"/>
              <a:gd name="connsiteY7" fmla="*/ 4245 h 3733017"/>
              <a:gd name="connsiteX8" fmla="*/ 2384244 w 2384244"/>
              <a:gd name="connsiteY8" fmla="*/ 256648 h 3733017"/>
              <a:gd name="connsiteX9" fmla="*/ 2379641 w 2384244"/>
              <a:gd name="connsiteY9" fmla="*/ 3346754 h 3733017"/>
              <a:gd name="connsiteX10" fmla="*/ 0 w 2384244"/>
              <a:gd name="connsiteY10" fmla="*/ 3346754 h 3733017"/>
              <a:gd name="connsiteX11" fmla="*/ 18234 w 2384244"/>
              <a:gd name="connsiteY11" fmla="*/ 256648 h 3733017"/>
              <a:gd name="connsiteX0" fmla="*/ 18234 w 2384244"/>
              <a:gd name="connsiteY0" fmla="*/ 256648 h 3576698"/>
              <a:gd name="connsiteX1" fmla="*/ 255401 w 2384244"/>
              <a:gd name="connsiteY1" fmla="*/ 9321 h 3576698"/>
              <a:gd name="connsiteX2" fmla="*/ 538934 w 2384244"/>
              <a:gd name="connsiteY2" fmla="*/ 8052 h 3576698"/>
              <a:gd name="connsiteX3" fmla="*/ 751024 w 2384244"/>
              <a:gd name="connsiteY3" fmla="*/ 189664 h 3576698"/>
              <a:gd name="connsiteX4" fmla="*/ 1293152 w 2384244"/>
              <a:gd name="connsiteY4" fmla="*/ 194110 h 3576698"/>
              <a:gd name="connsiteX5" fmla="*/ 1777022 w 2384244"/>
              <a:gd name="connsiteY5" fmla="*/ 173797 h 3576698"/>
              <a:gd name="connsiteX6" fmla="*/ 1875447 w 2384244"/>
              <a:gd name="connsiteY6" fmla="*/ 10594 h 3576698"/>
              <a:gd name="connsiteX7" fmla="*/ 2152157 w 2384244"/>
              <a:gd name="connsiteY7" fmla="*/ 4245 h 3576698"/>
              <a:gd name="connsiteX8" fmla="*/ 2384244 w 2384244"/>
              <a:gd name="connsiteY8" fmla="*/ 256648 h 3576698"/>
              <a:gd name="connsiteX9" fmla="*/ 2379641 w 2384244"/>
              <a:gd name="connsiteY9" fmla="*/ 3346754 h 3576698"/>
              <a:gd name="connsiteX10" fmla="*/ 0 w 2384244"/>
              <a:gd name="connsiteY10" fmla="*/ 3346754 h 3576698"/>
              <a:gd name="connsiteX11" fmla="*/ 18234 w 2384244"/>
              <a:gd name="connsiteY11" fmla="*/ 256648 h 3576698"/>
              <a:gd name="connsiteX0" fmla="*/ 18234 w 2384244"/>
              <a:gd name="connsiteY0" fmla="*/ 256648 h 3366131"/>
              <a:gd name="connsiteX1" fmla="*/ 255401 w 2384244"/>
              <a:gd name="connsiteY1" fmla="*/ 9321 h 3366131"/>
              <a:gd name="connsiteX2" fmla="*/ 538934 w 2384244"/>
              <a:gd name="connsiteY2" fmla="*/ 8052 h 3366131"/>
              <a:gd name="connsiteX3" fmla="*/ 751024 w 2384244"/>
              <a:gd name="connsiteY3" fmla="*/ 189664 h 3366131"/>
              <a:gd name="connsiteX4" fmla="*/ 1293152 w 2384244"/>
              <a:gd name="connsiteY4" fmla="*/ 194110 h 3366131"/>
              <a:gd name="connsiteX5" fmla="*/ 1777022 w 2384244"/>
              <a:gd name="connsiteY5" fmla="*/ 173797 h 3366131"/>
              <a:gd name="connsiteX6" fmla="*/ 1875447 w 2384244"/>
              <a:gd name="connsiteY6" fmla="*/ 10594 h 3366131"/>
              <a:gd name="connsiteX7" fmla="*/ 2152157 w 2384244"/>
              <a:gd name="connsiteY7" fmla="*/ 4245 h 3366131"/>
              <a:gd name="connsiteX8" fmla="*/ 2384244 w 2384244"/>
              <a:gd name="connsiteY8" fmla="*/ 256648 h 3366131"/>
              <a:gd name="connsiteX9" fmla="*/ 2379641 w 2384244"/>
              <a:gd name="connsiteY9" fmla="*/ 3346754 h 3366131"/>
              <a:gd name="connsiteX10" fmla="*/ 0 w 2384244"/>
              <a:gd name="connsiteY10" fmla="*/ 3346754 h 3366131"/>
              <a:gd name="connsiteX11" fmla="*/ 18234 w 2384244"/>
              <a:gd name="connsiteY11" fmla="*/ 256648 h 3366131"/>
              <a:gd name="connsiteX0" fmla="*/ 18234 w 2384244"/>
              <a:gd name="connsiteY0" fmla="*/ 256648 h 3366131"/>
              <a:gd name="connsiteX1" fmla="*/ 255401 w 2384244"/>
              <a:gd name="connsiteY1" fmla="*/ 9321 h 3366131"/>
              <a:gd name="connsiteX2" fmla="*/ 538934 w 2384244"/>
              <a:gd name="connsiteY2" fmla="*/ 8052 h 3366131"/>
              <a:gd name="connsiteX3" fmla="*/ 751024 w 2384244"/>
              <a:gd name="connsiteY3" fmla="*/ 189664 h 3366131"/>
              <a:gd name="connsiteX4" fmla="*/ 1293152 w 2384244"/>
              <a:gd name="connsiteY4" fmla="*/ 194110 h 3366131"/>
              <a:gd name="connsiteX5" fmla="*/ 1777022 w 2384244"/>
              <a:gd name="connsiteY5" fmla="*/ 173797 h 3366131"/>
              <a:gd name="connsiteX6" fmla="*/ 1875447 w 2384244"/>
              <a:gd name="connsiteY6" fmla="*/ 10594 h 3366131"/>
              <a:gd name="connsiteX7" fmla="*/ 2152157 w 2384244"/>
              <a:gd name="connsiteY7" fmla="*/ 4245 h 3366131"/>
              <a:gd name="connsiteX8" fmla="*/ 2384244 w 2384244"/>
              <a:gd name="connsiteY8" fmla="*/ 256648 h 3366131"/>
              <a:gd name="connsiteX9" fmla="*/ 2379641 w 2384244"/>
              <a:gd name="connsiteY9" fmla="*/ 3346754 h 3366131"/>
              <a:gd name="connsiteX10" fmla="*/ 0 w 2384244"/>
              <a:gd name="connsiteY10" fmla="*/ 3346754 h 3366131"/>
              <a:gd name="connsiteX11" fmla="*/ 18234 w 2384244"/>
              <a:gd name="connsiteY11" fmla="*/ 256648 h 3366131"/>
              <a:gd name="connsiteX0" fmla="*/ 18234 w 2384244"/>
              <a:gd name="connsiteY0" fmla="*/ 256648 h 3349443"/>
              <a:gd name="connsiteX1" fmla="*/ 255401 w 2384244"/>
              <a:gd name="connsiteY1" fmla="*/ 9321 h 3349443"/>
              <a:gd name="connsiteX2" fmla="*/ 538934 w 2384244"/>
              <a:gd name="connsiteY2" fmla="*/ 8052 h 3349443"/>
              <a:gd name="connsiteX3" fmla="*/ 751024 w 2384244"/>
              <a:gd name="connsiteY3" fmla="*/ 189664 h 3349443"/>
              <a:gd name="connsiteX4" fmla="*/ 1293152 w 2384244"/>
              <a:gd name="connsiteY4" fmla="*/ 194110 h 3349443"/>
              <a:gd name="connsiteX5" fmla="*/ 1777022 w 2384244"/>
              <a:gd name="connsiteY5" fmla="*/ 173797 h 3349443"/>
              <a:gd name="connsiteX6" fmla="*/ 1875447 w 2384244"/>
              <a:gd name="connsiteY6" fmla="*/ 10594 h 3349443"/>
              <a:gd name="connsiteX7" fmla="*/ 2152157 w 2384244"/>
              <a:gd name="connsiteY7" fmla="*/ 4245 h 3349443"/>
              <a:gd name="connsiteX8" fmla="*/ 2384244 w 2384244"/>
              <a:gd name="connsiteY8" fmla="*/ 256648 h 3349443"/>
              <a:gd name="connsiteX9" fmla="*/ 2379641 w 2384244"/>
              <a:gd name="connsiteY9" fmla="*/ 3346754 h 3349443"/>
              <a:gd name="connsiteX10" fmla="*/ 0 w 2384244"/>
              <a:gd name="connsiteY10" fmla="*/ 3346754 h 3349443"/>
              <a:gd name="connsiteX11" fmla="*/ 18234 w 2384244"/>
              <a:gd name="connsiteY11" fmla="*/ 256648 h 3349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84244" h="3349443">
                <a:moveTo>
                  <a:pt x="18234" y="256648"/>
                </a:moveTo>
                <a:cubicBezTo>
                  <a:pt x="18234" y="121456"/>
                  <a:pt x="120209" y="14401"/>
                  <a:pt x="255401" y="9321"/>
                </a:cubicBezTo>
                <a:cubicBezTo>
                  <a:pt x="351286" y="-1632"/>
                  <a:pt x="462257" y="-4013"/>
                  <a:pt x="538934" y="8052"/>
                </a:cubicBezTo>
                <a:cubicBezTo>
                  <a:pt x="588941" y="42977"/>
                  <a:pt x="504802" y="204269"/>
                  <a:pt x="751024" y="189664"/>
                </a:cubicBezTo>
                <a:cubicBezTo>
                  <a:pt x="908159" y="194321"/>
                  <a:pt x="1122152" y="196755"/>
                  <a:pt x="1293152" y="194110"/>
                </a:cubicBezTo>
                <a:cubicBezTo>
                  <a:pt x="1464152" y="191466"/>
                  <a:pt x="1679973" y="204383"/>
                  <a:pt x="1777022" y="173797"/>
                </a:cubicBezTo>
                <a:cubicBezTo>
                  <a:pt x="1874071" y="143211"/>
                  <a:pt x="1815359" y="37475"/>
                  <a:pt x="1875447" y="10594"/>
                </a:cubicBezTo>
                <a:cubicBezTo>
                  <a:pt x="1915215" y="-1049"/>
                  <a:pt x="2027141" y="688"/>
                  <a:pt x="2152157" y="4245"/>
                </a:cubicBezTo>
                <a:cubicBezTo>
                  <a:pt x="2277173" y="7802"/>
                  <a:pt x="2373683" y="57529"/>
                  <a:pt x="2384244" y="256648"/>
                </a:cubicBezTo>
                <a:cubicBezTo>
                  <a:pt x="2382710" y="1286683"/>
                  <a:pt x="2381175" y="2316719"/>
                  <a:pt x="2379641" y="3346754"/>
                </a:cubicBezTo>
                <a:cubicBezTo>
                  <a:pt x="2383433" y="3351451"/>
                  <a:pt x="1520" y="3349029"/>
                  <a:pt x="0" y="3346754"/>
                </a:cubicBezTo>
                <a:lnTo>
                  <a:pt x="18234" y="256648"/>
                </a:lnTo>
                <a:close/>
              </a:path>
            </a:pathLst>
          </a:custGeom>
          <a:solidFill>
            <a:schemeClr val="tx1"/>
          </a:solidFill>
        </p:spPr>
        <p:txBody>
          <a:bodyPr lIns="252000" tIns="612000" bIns="90000" anchor="t">
            <a:normAutofit/>
          </a:bodyPr>
          <a:lstStyle>
            <a:lvl1pPr marL="0" indent="0" algn="l">
              <a:buNone/>
              <a:defRPr lang="fr-FR" sz="28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Click </a:t>
            </a:r>
            <a:br>
              <a:rPr lang="fr-FR"/>
            </a:br>
            <a:r>
              <a:rPr lang="fr-FR"/>
              <a:t>to </a:t>
            </a:r>
            <a:r>
              <a:rPr lang="fr-FR" err="1"/>
              <a:t>add</a:t>
            </a:r>
            <a:r>
              <a:rPr lang="fr-FR"/>
              <a:t> </a:t>
            </a:r>
            <a:br>
              <a:rPr lang="fr-FR"/>
            </a:br>
            <a:r>
              <a:rPr lang="fr-FR"/>
              <a:t>a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0515B17-6167-0944-A915-02E8C68B2F4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092952" y="1557838"/>
            <a:ext cx="5184648" cy="4385761"/>
          </a:xfrm>
        </p:spPr>
        <p:txBody>
          <a:bodyPr anchor="ctr" anchorCtr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98E34DF-75F0-154B-BEF0-ACB97D5DE9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952" y="265176"/>
            <a:ext cx="5641847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73706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cbo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C88F375-04CA-834B-9996-5992C46336E5}"/>
              </a:ext>
            </a:extLst>
          </p:cNvPr>
          <p:cNvSpPr/>
          <p:nvPr userDrawn="1"/>
        </p:nvSpPr>
        <p:spPr>
          <a:xfrm>
            <a:off x="8461248" y="0"/>
            <a:ext cx="373075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81EF5A2-7940-4246-8F98-9CCF1F66A7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179" b="28133"/>
          <a:stretch/>
        </p:blipFill>
        <p:spPr>
          <a:xfrm>
            <a:off x="5188222" y="1745672"/>
            <a:ext cx="7003778" cy="5112328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D01FD7D-D544-4772-B580-7DC1E624342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688183" y="2235200"/>
            <a:ext cx="5503817" cy="4622800"/>
          </a:xfrm>
          <a:prstGeom prst="rect">
            <a:avLst/>
          </a:prstGeom>
          <a:solidFill>
            <a:schemeClr val="tx1"/>
          </a:solidFill>
        </p:spPr>
        <p:txBody>
          <a:bodyPr lIns="396000" tIns="1476000" rIns="72000" b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fr-FR" sz="3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Click </a:t>
            </a:r>
            <a:br>
              <a:rPr lang="fr-FR"/>
            </a:br>
            <a:r>
              <a:rPr lang="fr-FR"/>
              <a:t>to </a:t>
            </a:r>
            <a:r>
              <a:rPr lang="fr-FR" err="1"/>
              <a:t>add</a:t>
            </a:r>
            <a:r>
              <a:rPr lang="fr-FR"/>
              <a:t> </a:t>
            </a:r>
            <a:br>
              <a:rPr lang="fr-FR"/>
            </a:br>
            <a:r>
              <a:rPr lang="fr-FR"/>
              <a:t>a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BAC8ED92-088A-2F43-A148-A05E8765966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914400" y="1557838"/>
            <a:ext cx="4430050" cy="4385761"/>
          </a:xfrm>
        </p:spPr>
        <p:txBody>
          <a:bodyPr anchor="ctr" anchorCtr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E252148-0DBA-AA47-9E2C-9F85983CC5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4887250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55201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66017-DAAC-E449-9D39-D8DA6DA73D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0D184C21-3552-6E43-99CE-62CDB18D7D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7200" y="1557839"/>
            <a:ext cx="11277600" cy="4842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28707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cbook Zo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5842A1E-442D-504E-B53D-9145A514EBF6}"/>
              </a:ext>
            </a:extLst>
          </p:cNvPr>
          <p:cNvSpPr/>
          <p:nvPr userDrawn="1"/>
        </p:nvSpPr>
        <p:spPr>
          <a:xfrm>
            <a:off x="8461248" y="0"/>
            <a:ext cx="373075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F70BEE2-FE4D-6445-A384-7824F8AF65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-1" r="-2789" b="-1929"/>
          <a:stretch/>
        </p:blipFill>
        <p:spPr>
          <a:xfrm>
            <a:off x="5622141" y="1450299"/>
            <a:ext cx="7733450" cy="4503631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D01FD7D-D544-4772-B580-7DC1E624342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543040" y="1745672"/>
            <a:ext cx="5661660" cy="3567545"/>
          </a:xfrm>
          <a:prstGeom prst="rect">
            <a:avLst/>
          </a:prstGeom>
          <a:solidFill>
            <a:schemeClr val="tx1"/>
          </a:solidFill>
        </p:spPr>
        <p:txBody>
          <a:bodyPr lIns="396000" tIns="1476000" rIns="72000" bIns="72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fr-FR" sz="3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Click </a:t>
            </a:r>
            <a:br>
              <a:rPr lang="fr-FR"/>
            </a:br>
            <a:r>
              <a:rPr lang="fr-FR"/>
              <a:t>to </a:t>
            </a:r>
            <a:r>
              <a:rPr lang="fr-FR" err="1"/>
              <a:t>add</a:t>
            </a:r>
            <a:r>
              <a:rPr lang="fr-FR"/>
              <a:t> </a:t>
            </a:r>
            <a:br>
              <a:rPr lang="fr-FR"/>
            </a:br>
            <a:r>
              <a:rPr lang="fr-FR"/>
              <a:t>a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9EBB0D62-D94C-5D49-8BC2-AF9D6FD6F35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914400" y="1557837"/>
            <a:ext cx="4430050" cy="4385761"/>
          </a:xfrm>
        </p:spPr>
        <p:txBody>
          <a:bodyPr anchor="ctr" anchorCtr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03F5AA-0465-7F49-BBED-8B6BF179B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4887250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67730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FC1A918-1CC9-0747-91FF-1C36FF7CD057}"/>
              </a:ext>
            </a:extLst>
          </p:cNvPr>
          <p:cNvSpPr/>
          <p:nvPr userDrawn="1"/>
        </p:nvSpPr>
        <p:spPr>
          <a:xfrm>
            <a:off x="0" y="0"/>
            <a:ext cx="373075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5E4E17-34C1-7447-BAD7-FC91058377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182" y="711201"/>
            <a:ext cx="3877140" cy="5435598"/>
          </a:xfrm>
          <a:prstGeom prst="rect">
            <a:avLst/>
          </a:prstGeom>
          <a:effectLst>
            <a:outerShdw blurRad="444500" dist="127000" dir="5400000" algn="t" rotWithShape="0">
              <a:prstClr val="black">
                <a:alpha val="30000"/>
              </a:prstClr>
            </a:outerShdw>
          </a:effectLst>
        </p:spPr>
      </p:pic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CA23F7C5-F348-47D4-9C59-49AD0BB7181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090681" y="1257485"/>
            <a:ext cx="3270364" cy="4346840"/>
          </a:xfrm>
          <a:prstGeom prst="rect">
            <a:avLst/>
          </a:prstGeom>
          <a:solidFill>
            <a:schemeClr val="tx1"/>
          </a:solidFill>
        </p:spPr>
        <p:txBody>
          <a:bodyPr lIns="216000" tIns="216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fr-FR" sz="28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</a:t>
            </a:r>
            <a:br>
              <a:rPr lang="fr-FR"/>
            </a:br>
            <a:r>
              <a:rPr lang="fr-FR"/>
              <a:t>to </a:t>
            </a:r>
            <a:r>
              <a:rPr lang="fr-FR" err="1"/>
              <a:t>add</a:t>
            </a:r>
            <a:r>
              <a:rPr lang="fr-FR"/>
              <a:t> </a:t>
            </a:r>
            <a:br>
              <a:rPr lang="fr-FR"/>
            </a:br>
            <a:r>
              <a:rPr lang="fr-FR"/>
              <a:t>a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09C79DF7-2DB8-E447-B510-D6992DA5E656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431240" y="1557838"/>
            <a:ext cx="4846360" cy="4385761"/>
          </a:xfrm>
        </p:spPr>
        <p:txBody>
          <a:bodyPr anchor="ctr" anchorCtr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7C70AA0-1624-6E45-BF92-64A949D9C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1240" y="265176"/>
            <a:ext cx="5303560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2930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 So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35C681A-7920-324F-8263-7270108943FF}"/>
              </a:ext>
            </a:extLst>
          </p:cNvPr>
          <p:cNvSpPr/>
          <p:nvPr userDrawn="1"/>
        </p:nvSpPr>
        <p:spPr>
          <a:xfrm>
            <a:off x="0" y="0"/>
            <a:ext cx="373075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9CD3D52-5901-8749-8039-BAA6A79F22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2371" y="985887"/>
            <a:ext cx="7750360" cy="4886225"/>
          </a:xfrm>
          <a:prstGeom prst="rect">
            <a:avLst/>
          </a:prstGeom>
          <a:effectLst>
            <a:outerShdw blurRad="279400" dist="50800" dir="5400000" algn="ctr" rotWithShape="0">
              <a:srgbClr val="000000">
                <a:alpha val="66000"/>
              </a:srgbClr>
            </a:outerShdw>
          </a:effectLst>
        </p:spPr>
      </p:pic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FD0C9DF6-807F-40E6-84C6-BA52193E138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52425" y="1114424"/>
            <a:ext cx="7591425" cy="4279107"/>
          </a:xfrm>
          <a:prstGeom prst="rect">
            <a:avLst/>
          </a:prstGeom>
          <a:solidFill>
            <a:schemeClr val="tx1"/>
          </a:solidFill>
        </p:spPr>
        <p:txBody>
          <a:bodyPr lIns="216000" tIns="216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fr-FR" sz="28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</a:t>
            </a:r>
            <a:br>
              <a:rPr lang="fr-FR"/>
            </a:br>
            <a:r>
              <a:rPr lang="fr-FR"/>
              <a:t>to </a:t>
            </a:r>
            <a:r>
              <a:rPr lang="fr-FR" err="1"/>
              <a:t>add</a:t>
            </a:r>
            <a:r>
              <a:rPr lang="fr-FR"/>
              <a:t> </a:t>
            </a:r>
            <a:br>
              <a:rPr lang="fr-FR"/>
            </a:br>
            <a:r>
              <a:rPr lang="fr-FR"/>
              <a:t>a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3C47E15B-A3A7-CE44-BCF3-9796CDB05971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239340" y="1557838"/>
            <a:ext cx="3038259" cy="4385761"/>
          </a:xfrm>
        </p:spPr>
        <p:txBody>
          <a:bodyPr anchor="ctr" anchorCtr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54418C0-BD69-9048-8038-1569D9E8FE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39340" y="265176"/>
            <a:ext cx="3495460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55540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osition Mock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611AE83-1F2D-0042-8978-74006604873F}"/>
              </a:ext>
            </a:extLst>
          </p:cNvPr>
          <p:cNvSpPr/>
          <p:nvPr userDrawn="1"/>
        </p:nvSpPr>
        <p:spPr>
          <a:xfrm>
            <a:off x="4657060" y="457200"/>
            <a:ext cx="7534939" cy="5943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70D4B04-ACF9-9F45-8BCB-0645D6E935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505742" y="675776"/>
            <a:ext cx="4581060" cy="6422466"/>
          </a:xfrm>
          <a:prstGeom prst="rect">
            <a:avLst/>
          </a:prstGeom>
          <a:effectLst>
            <a:outerShdw blurRad="508000" dist="190500" dir="5400000" algn="t" rotWithShape="0">
              <a:prstClr val="black">
                <a:alpha val="42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ABF6898-8A7B-5D4E-AE56-667B779337D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220" y="1992809"/>
            <a:ext cx="2102841" cy="4184730"/>
          </a:xfrm>
          <a:prstGeom prst="rect">
            <a:avLst/>
          </a:prstGeom>
          <a:effectLst>
            <a:outerShdw blurRad="508000" dist="177800" dir="5400000" algn="t" rotWithShape="0">
              <a:prstClr val="black">
                <a:alpha val="42000"/>
              </a:prstClr>
            </a:outerShdw>
          </a:effectLst>
        </p:spPr>
      </p:pic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77071DD5-C8B5-4225-B8DE-07EA5BA539F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227570" y="1966364"/>
            <a:ext cx="5148656" cy="3851506"/>
          </a:xfrm>
          <a:prstGeom prst="rect">
            <a:avLst/>
          </a:prstGeom>
          <a:solidFill>
            <a:schemeClr val="tx1"/>
          </a:solidFill>
        </p:spPr>
        <p:txBody>
          <a:bodyPr lIns="216000" tIns="216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fr-FR" sz="28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ck </a:t>
            </a:r>
            <a:br>
              <a:rPr lang="fr-FR"/>
            </a:br>
            <a:r>
              <a:rPr lang="fr-FR"/>
              <a:t>to </a:t>
            </a:r>
            <a:r>
              <a:rPr lang="fr-FR" err="1"/>
              <a:t>add</a:t>
            </a:r>
            <a:r>
              <a:rPr lang="fr-FR"/>
              <a:t> </a:t>
            </a:r>
            <a:br>
              <a:rPr lang="fr-FR"/>
            </a:br>
            <a:r>
              <a:rPr lang="fr-FR"/>
              <a:t>a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150A7111-6589-40CE-A556-684125F6727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818269" y="2254257"/>
            <a:ext cx="1683544" cy="3658476"/>
          </a:xfrm>
          <a:custGeom>
            <a:avLst/>
            <a:gdLst>
              <a:gd name="connsiteX0" fmla="*/ 0 w 2366010"/>
              <a:gd name="connsiteY0" fmla="*/ 244787 h 5124450"/>
              <a:gd name="connsiteX1" fmla="*/ 244787 w 2366010"/>
              <a:gd name="connsiteY1" fmla="*/ 0 h 5124450"/>
              <a:gd name="connsiteX2" fmla="*/ 2121223 w 2366010"/>
              <a:gd name="connsiteY2" fmla="*/ 0 h 5124450"/>
              <a:gd name="connsiteX3" fmla="*/ 2366010 w 2366010"/>
              <a:gd name="connsiteY3" fmla="*/ 244787 h 5124450"/>
              <a:gd name="connsiteX4" fmla="*/ 2366010 w 2366010"/>
              <a:gd name="connsiteY4" fmla="*/ 4879663 h 5124450"/>
              <a:gd name="connsiteX5" fmla="*/ 2121223 w 2366010"/>
              <a:gd name="connsiteY5" fmla="*/ 5124450 h 5124450"/>
              <a:gd name="connsiteX6" fmla="*/ 244787 w 2366010"/>
              <a:gd name="connsiteY6" fmla="*/ 5124450 h 5124450"/>
              <a:gd name="connsiteX7" fmla="*/ 0 w 2366010"/>
              <a:gd name="connsiteY7" fmla="*/ 4879663 h 5124450"/>
              <a:gd name="connsiteX8" fmla="*/ 0 w 2366010"/>
              <a:gd name="connsiteY8" fmla="*/ 244787 h 5124450"/>
              <a:gd name="connsiteX0" fmla="*/ 0 w 2366010"/>
              <a:gd name="connsiteY0" fmla="*/ 244793 h 5124456"/>
              <a:gd name="connsiteX1" fmla="*/ 244787 w 2366010"/>
              <a:gd name="connsiteY1" fmla="*/ 6 h 5124456"/>
              <a:gd name="connsiteX2" fmla="*/ 659130 w 2366010"/>
              <a:gd name="connsiteY2" fmla="*/ 186696 h 5124456"/>
              <a:gd name="connsiteX3" fmla="*/ 2121223 w 2366010"/>
              <a:gd name="connsiteY3" fmla="*/ 6 h 5124456"/>
              <a:gd name="connsiteX4" fmla="*/ 2366010 w 2366010"/>
              <a:gd name="connsiteY4" fmla="*/ 244793 h 5124456"/>
              <a:gd name="connsiteX5" fmla="*/ 2366010 w 2366010"/>
              <a:gd name="connsiteY5" fmla="*/ 4879669 h 5124456"/>
              <a:gd name="connsiteX6" fmla="*/ 2121223 w 2366010"/>
              <a:gd name="connsiteY6" fmla="*/ 5124456 h 5124456"/>
              <a:gd name="connsiteX7" fmla="*/ 244787 w 2366010"/>
              <a:gd name="connsiteY7" fmla="*/ 5124456 h 5124456"/>
              <a:gd name="connsiteX8" fmla="*/ 0 w 2366010"/>
              <a:gd name="connsiteY8" fmla="*/ 4879669 h 5124456"/>
              <a:gd name="connsiteX9" fmla="*/ 0 w 2366010"/>
              <a:gd name="connsiteY9" fmla="*/ 244793 h 5124456"/>
              <a:gd name="connsiteX0" fmla="*/ 0 w 2366010"/>
              <a:gd name="connsiteY0" fmla="*/ 244794 h 5124457"/>
              <a:gd name="connsiteX1" fmla="*/ 244787 w 2366010"/>
              <a:gd name="connsiteY1" fmla="*/ 7 h 5124457"/>
              <a:gd name="connsiteX2" fmla="*/ 659130 w 2366010"/>
              <a:gd name="connsiteY2" fmla="*/ 186697 h 5124457"/>
              <a:gd name="connsiteX3" fmla="*/ 2121223 w 2366010"/>
              <a:gd name="connsiteY3" fmla="*/ 7 h 5124457"/>
              <a:gd name="connsiteX4" fmla="*/ 2366010 w 2366010"/>
              <a:gd name="connsiteY4" fmla="*/ 244794 h 5124457"/>
              <a:gd name="connsiteX5" fmla="*/ 2366010 w 2366010"/>
              <a:gd name="connsiteY5" fmla="*/ 4879670 h 5124457"/>
              <a:gd name="connsiteX6" fmla="*/ 2121223 w 2366010"/>
              <a:gd name="connsiteY6" fmla="*/ 5124457 h 5124457"/>
              <a:gd name="connsiteX7" fmla="*/ 244787 w 2366010"/>
              <a:gd name="connsiteY7" fmla="*/ 5124457 h 5124457"/>
              <a:gd name="connsiteX8" fmla="*/ 0 w 2366010"/>
              <a:gd name="connsiteY8" fmla="*/ 4879670 h 5124457"/>
              <a:gd name="connsiteX9" fmla="*/ 0 w 2366010"/>
              <a:gd name="connsiteY9" fmla="*/ 244794 h 5124457"/>
              <a:gd name="connsiteX0" fmla="*/ 0 w 2366010"/>
              <a:gd name="connsiteY0" fmla="*/ 253683 h 5133346"/>
              <a:gd name="connsiteX1" fmla="*/ 244787 w 2366010"/>
              <a:gd name="connsiteY1" fmla="*/ 8896 h 5133346"/>
              <a:gd name="connsiteX2" fmla="*/ 502920 w 2366010"/>
              <a:gd name="connsiteY2" fmla="*/ 50807 h 5133346"/>
              <a:gd name="connsiteX3" fmla="*/ 659130 w 2366010"/>
              <a:gd name="connsiteY3" fmla="*/ 195586 h 5133346"/>
              <a:gd name="connsiteX4" fmla="*/ 2121223 w 2366010"/>
              <a:gd name="connsiteY4" fmla="*/ 8896 h 5133346"/>
              <a:gd name="connsiteX5" fmla="*/ 2366010 w 2366010"/>
              <a:gd name="connsiteY5" fmla="*/ 253683 h 5133346"/>
              <a:gd name="connsiteX6" fmla="*/ 2366010 w 2366010"/>
              <a:gd name="connsiteY6" fmla="*/ 4888559 h 5133346"/>
              <a:gd name="connsiteX7" fmla="*/ 2121223 w 2366010"/>
              <a:gd name="connsiteY7" fmla="*/ 5133346 h 5133346"/>
              <a:gd name="connsiteX8" fmla="*/ 244787 w 2366010"/>
              <a:gd name="connsiteY8" fmla="*/ 5133346 h 5133346"/>
              <a:gd name="connsiteX9" fmla="*/ 0 w 2366010"/>
              <a:gd name="connsiteY9" fmla="*/ 4888559 h 5133346"/>
              <a:gd name="connsiteX10" fmla="*/ 0 w 2366010"/>
              <a:gd name="connsiteY10" fmla="*/ 253683 h 5133346"/>
              <a:gd name="connsiteX0" fmla="*/ 0 w 2366010"/>
              <a:gd name="connsiteY0" fmla="*/ 253683 h 5133346"/>
              <a:gd name="connsiteX1" fmla="*/ 244787 w 2366010"/>
              <a:gd name="connsiteY1" fmla="*/ 8896 h 5133346"/>
              <a:gd name="connsiteX2" fmla="*/ 502920 w 2366010"/>
              <a:gd name="connsiteY2" fmla="*/ 50807 h 5133346"/>
              <a:gd name="connsiteX3" fmla="*/ 659130 w 2366010"/>
              <a:gd name="connsiteY3" fmla="*/ 195586 h 5133346"/>
              <a:gd name="connsiteX4" fmla="*/ 2121223 w 2366010"/>
              <a:gd name="connsiteY4" fmla="*/ 8896 h 5133346"/>
              <a:gd name="connsiteX5" fmla="*/ 2366010 w 2366010"/>
              <a:gd name="connsiteY5" fmla="*/ 253683 h 5133346"/>
              <a:gd name="connsiteX6" fmla="*/ 2366010 w 2366010"/>
              <a:gd name="connsiteY6" fmla="*/ 4888559 h 5133346"/>
              <a:gd name="connsiteX7" fmla="*/ 2121223 w 2366010"/>
              <a:gd name="connsiteY7" fmla="*/ 5133346 h 5133346"/>
              <a:gd name="connsiteX8" fmla="*/ 244787 w 2366010"/>
              <a:gd name="connsiteY8" fmla="*/ 5133346 h 5133346"/>
              <a:gd name="connsiteX9" fmla="*/ 0 w 2366010"/>
              <a:gd name="connsiteY9" fmla="*/ 4888559 h 5133346"/>
              <a:gd name="connsiteX10" fmla="*/ 0 w 2366010"/>
              <a:gd name="connsiteY10" fmla="*/ 253683 h 5133346"/>
              <a:gd name="connsiteX0" fmla="*/ 0 w 2366010"/>
              <a:gd name="connsiteY0" fmla="*/ 253683 h 5133346"/>
              <a:gd name="connsiteX1" fmla="*/ 244787 w 2366010"/>
              <a:gd name="connsiteY1" fmla="*/ 8896 h 5133346"/>
              <a:gd name="connsiteX2" fmla="*/ 502920 w 2366010"/>
              <a:gd name="connsiteY2" fmla="*/ 50807 h 5133346"/>
              <a:gd name="connsiteX3" fmla="*/ 735330 w 2366010"/>
              <a:gd name="connsiteY3" fmla="*/ 195586 h 5133346"/>
              <a:gd name="connsiteX4" fmla="*/ 2121223 w 2366010"/>
              <a:gd name="connsiteY4" fmla="*/ 8896 h 5133346"/>
              <a:gd name="connsiteX5" fmla="*/ 2366010 w 2366010"/>
              <a:gd name="connsiteY5" fmla="*/ 253683 h 5133346"/>
              <a:gd name="connsiteX6" fmla="*/ 2366010 w 2366010"/>
              <a:gd name="connsiteY6" fmla="*/ 4888559 h 5133346"/>
              <a:gd name="connsiteX7" fmla="*/ 2121223 w 2366010"/>
              <a:gd name="connsiteY7" fmla="*/ 5133346 h 5133346"/>
              <a:gd name="connsiteX8" fmla="*/ 244787 w 2366010"/>
              <a:gd name="connsiteY8" fmla="*/ 5133346 h 5133346"/>
              <a:gd name="connsiteX9" fmla="*/ 0 w 2366010"/>
              <a:gd name="connsiteY9" fmla="*/ 4888559 h 5133346"/>
              <a:gd name="connsiteX10" fmla="*/ 0 w 2366010"/>
              <a:gd name="connsiteY10" fmla="*/ 253683 h 5133346"/>
              <a:gd name="connsiteX0" fmla="*/ 0 w 2366010"/>
              <a:gd name="connsiteY0" fmla="*/ 259704 h 5139367"/>
              <a:gd name="connsiteX1" fmla="*/ 244787 w 2366010"/>
              <a:gd name="connsiteY1" fmla="*/ 14917 h 5139367"/>
              <a:gd name="connsiteX2" fmla="*/ 499110 w 2366010"/>
              <a:gd name="connsiteY2" fmla="*/ 30158 h 5139367"/>
              <a:gd name="connsiteX3" fmla="*/ 735330 w 2366010"/>
              <a:gd name="connsiteY3" fmla="*/ 201607 h 5139367"/>
              <a:gd name="connsiteX4" fmla="*/ 2121223 w 2366010"/>
              <a:gd name="connsiteY4" fmla="*/ 14917 h 5139367"/>
              <a:gd name="connsiteX5" fmla="*/ 2366010 w 2366010"/>
              <a:gd name="connsiteY5" fmla="*/ 259704 h 5139367"/>
              <a:gd name="connsiteX6" fmla="*/ 2366010 w 2366010"/>
              <a:gd name="connsiteY6" fmla="*/ 4894580 h 5139367"/>
              <a:gd name="connsiteX7" fmla="*/ 2121223 w 2366010"/>
              <a:gd name="connsiteY7" fmla="*/ 5139367 h 5139367"/>
              <a:gd name="connsiteX8" fmla="*/ 244787 w 2366010"/>
              <a:gd name="connsiteY8" fmla="*/ 5139367 h 5139367"/>
              <a:gd name="connsiteX9" fmla="*/ 0 w 2366010"/>
              <a:gd name="connsiteY9" fmla="*/ 4894580 h 5139367"/>
              <a:gd name="connsiteX10" fmla="*/ 0 w 2366010"/>
              <a:gd name="connsiteY10" fmla="*/ 259704 h 5139367"/>
              <a:gd name="connsiteX0" fmla="*/ 0 w 2366010"/>
              <a:gd name="connsiteY0" fmla="*/ 255334 h 5134997"/>
              <a:gd name="connsiteX1" fmla="*/ 244787 w 2366010"/>
              <a:gd name="connsiteY1" fmla="*/ 10547 h 5134997"/>
              <a:gd name="connsiteX2" fmla="*/ 499110 w 2366010"/>
              <a:gd name="connsiteY2" fmla="*/ 25788 h 5134997"/>
              <a:gd name="connsiteX3" fmla="*/ 735330 w 2366010"/>
              <a:gd name="connsiteY3" fmla="*/ 197237 h 5134997"/>
              <a:gd name="connsiteX4" fmla="*/ 2121223 w 2366010"/>
              <a:gd name="connsiteY4" fmla="*/ 10547 h 5134997"/>
              <a:gd name="connsiteX5" fmla="*/ 2366010 w 2366010"/>
              <a:gd name="connsiteY5" fmla="*/ 255334 h 5134997"/>
              <a:gd name="connsiteX6" fmla="*/ 2366010 w 2366010"/>
              <a:gd name="connsiteY6" fmla="*/ 4890210 h 5134997"/>
              <a:gd name="connsiteX7" fmla="*/ 2121223 w 2366010"/>
              <a:gd name="connsiteY7" fmla="*/ 5134997 h 5134997"/>
              <a:gd name="connsiteX8" fmla="*/ 244787 w 2366010"/>
              <a:gd name="connsiteY8" fmla="*/ 5134997 h 5134997"/>
              <a:gd name="connsiteX9" fmla="*/ 0 w 2366010"/>
              <a:gd name="connsiteY9" fmla="*/ 4890210 h 5134997"/>
              <a:gd name="connsiteX10" fmla="*/ 0 w 2366010"/>
              <a:gd name="connsiteY10" fmla="*/ 255334 h 5134997"/>
              <a:gd name="connsiteX0" fmla="*/ 0 w 2366010"/>
              <a:gd name="connsiteY0" fmla="*/ 255334 h 5134997"/>
              <a:gd name="connsiteX1" fmla="*/ 244787 w 2366010"/>
              <a:gd name="connsiteY1" fmla="*/ 10547 h 5134997"/>
              <a:gd name="connsiteX2" fmla="*/ 499110 w 2366010"/>
              <a:gd name="connsiteY2" fmla="*/ 25788 h 5134997"/>
              <a:gd name="connsiteX3" fmla="*/ 731520 w 2366010"/>
              <a:gd name="connsiteY3" fmla="*/ 193427 h 5134997"/>
              <a:gd name="connsiteX4" fmla="*/ 2121223 w 2366010"/>
              <a:gd name="connsiteY4" fmla="*/ 10547 h 5134997"/>
              <a:gd name="connsiteX5" fmla="*/ 2366010 w 2366010"/>
              <a:gd name="connsiteY5" fmla="*/ 255334 h 5134997"/>
              <a:gd name="connsiteX6" fmla="*/ 2366010 w 2366010"/>
              <a:gd name="connsiteY6" fmla="*/ 4890210 h 5134997"/>
              <a:gd name="connsiteX7" fmla="*/ 2121223 w 2366010"/>
              <a:gd name="connsiteY7" fmla="*/ 5134997 h 5134997"/>
              <a:gd name="connsiteX8" fmla="*/ 244787 w 2366010"/>
              <a:gd name="connsiteY8" fmla="*/ 5134997 h 5134997"/>
              <a:gd name="connsiteX9" fmla="*/ 0 w 2366010"/>
              <a:gd name="connsiteY9" fmla="*/ 4890210 h 5134997"/>
              <a:gd name="connsiteX10" fmla="*/ 0 w 2366010"/>
              <a:gd name="connsiteY10" fmla="*/ 255334 h 5134997"/>
              <a:gd name="connsiteX0" fmla="*/ 0 w 2366010"/>
              <a:gd name="connsiteY0" fmla="*/ 258273 h 5137936"/>
              <a:gd name="connsiteX1" fmla="*/ 244787 w 2366010"/>
              <a:gd name="connsiteY1" fmla="*/ 13486 h 5137936"/>
              <a:gd name="connsiteX2" fmla="*/ 510540 w 2366010"/>
              <a:gd name="connsiteY2" fmla="*/ 17297 h 5137936"/>
              <a:gd name="connsiteX3" fmla="*/ 731520 w 2366010"/>
              <a:gd name="connsiteY3" fmla="*/ 196366 h 5137936"/>
              <a:gd name="connsiteX4" fmla="*/ 2121223 w 2366010"/>
              <a:gd name="connsiteY4" fmla="*/ 13486 h 5137936"/>
              <a:gd name="connsiteX5" fmla="*/ 2366010 w 2366010"/>
              <a:gd name="connsiteY5" fmla="*/ 258273 h 5137936"/>
              <a:gd name="connsiteX6" fmla="*/ 2366010 w 2366010"/>
              <a:gd name="connsiteY6" fmla="*/ 4893149 h 5137936"/>
              <a:gd name="connsiteX7" fmla="*/ 2121223 w 2366010"/>
              <a:gd name="connsiteY7" fmla="*/ 5137936 h 5137936"/>
              <a:gd name="connsiteX8" fmla="*/ 244787 w 2366010"/>
              <a:gd name="connsiteY8" fmla="*/ 5137936 h 5137936"/>
              <a:gd name="connsiteX9" fmla="*/ 0 w 2366010"/>
              <a:gd name="connsiteY9" fmla="*/ 4893149 h 5137936"/>
              <a:gd name="connsiteX10" fmla="*/ 0 w 2366010"/>
              <a:gd name="connsiteY10" fmla="*/ 258273 h 5137936"/>
              <a:gd name="connsiteX0" fmla="*/ 0 w 2366010"/>
              <a:gd name="connsiteY0" fmla="*/ 258273 h 5137936"/>
              <a:gd name="connsiteX1" fmla="*/ 244787 w 2366010"/>
              <a:gd name="connsiteY1" fmla="*/ 13486 h 5137936"/>
              <a:gd name="connsiteX2" fmla="*/ 510540 w 2366010"/>
              <a:gd name="connsiteY2" fmla="*/ 17297 h 5137936"/>
              <a:gd name="connsiteX3" fmla="*/ 731520 w 2366010"/>
              <a:gd name="connsiteY3" fmla="*/ 196366 h 5137936"/>
              <a:gd name="connsiteX4" fmla="*/ 2121223 w 2366010"/>
              <a:gd name="connsiteY4" fmla="*/ 13486 h 5137936"/>
              <a:gd name="connsiteX5" fmla="*/ 2366010 w 2366010"/>
              <a:gd name="connsiteY5" fmla="*/ 258273 h 5137936"/>
              <a:gd name="connsiteX6" fmla="*/ 2366010 w 2366010"/>
              <a:gd name="connsiteY6" fmla="*/ 4893149 h 5137936"/>
              <a:gd name="connsiteX7" fmla="*/ 2121223 w 2366010"/>
              <a:gd name="connsiteY7" fmla="*/ 5137936 h 5137936"/>
              <a:gd name="connsiteX8" fmla="*/ 244787 w 2366010"/>
              <a:gd name="connsiteY8" fmla="*/ 5137936 h 5137936"/>
              <a:gd name="connsiteX9" fmla="*/ 0 w 2366010"/>
              <a:gd name="connsiteY9" fmla="*/ 4893149 h 5137936"/>
              <a:gd name="connsiteX10" fmla="*/ 0 w 2366010"/>
              <a:gd name="connsiteY10" fmla="*/ 258273 h 5137936"/>
              <a:gd name="connsiteX0" fmla="*/ 0 w 2366010"/>
              <a:gd name="connsiteY0" fmla="*/ 258273 h 5137936"/>
              <a:gd name="connsiteX1" fmla="*/ 244787 w 2366010"/>
              <a:gd name="connsiteY1" fmla="*/ 13486 h 5137936"/>
              <a:gd name="connsiteX2" fmla="*/ 510540 w 2366010"/>
              <a:gd name="connsiteY2" fmla="*/ 17297 h 5137936"/>
              <a:gd name="connsiteX3" fmla="*/ 739140 w 2366010"/>
              <a:gd name="connsiteY3" fmla="*/ 196366 h 5137936"/>
              <a:gd name="connsiteX4" fmla="*/ 2121223 w 2366010"/>
              <a:gd name="connsiteY4" fmla="*/ 13486 h 5137936"/>
              <a:gd name="connsiteX5" fmla="*/ 2366010 w 2366010"/>
              <a:gd name="connsiteY5" fmla="*/ 258273 h 5137936"/>
              <a:gd name="connsiteX6" fmla="*/ 2366010 w 2366010"/>
              <a:gd name="connsiteY6" fmla="*/ 4893149 h 5137936"/>
              <a:gd name="connsiteX7" fmla="*/ 2121223 w 2366010"/>
              <a:gd name="connsiteY7" fmla="*/ 5137936 h 5137936"/>
              <a:gd name="connsiteX8" fmla="*/ 244787 w 2366010"/>
              <a:gd name="connsiteY8" fmla="*/ 5137936 h 5137936"/>
              <a:gd name="connsiteX9" fmla="*/ 0 w 2366010"/>
              <a:gd name="connsiteY9" fmla="*/ 4893149 h 5137936"/>
              <a:gd name="connsiteX10" fmla="*/ 0 w 2366010"/>
              <a:gd name="connsiteY10" fmla="*/ 258273 h 5137936"/>
              <a:gd name="connsiteX0" fmla="*/ 0 w 2366010"/>
              <a:gd name="connsiteY0" fmla="*/ 258273 h 5137936"/>
              <a:gd name="connsiteX1" fmla="*/ 244787 w 2366010"/>
              <a:gd name="connsiteY1" fmla="*/ 13486 h 5137936"/>
              <a:gd name="connsiteX2" fmla="*/ 510540 w 2366010"/>
              <a:gd name="connsiteY2" fmla="*/ 17297 h 5137936"/>
              <a:gd name="connsiteX3" fmla="*/ 739140 w 2366010"/>
              <a:gd name="connsiteY3" fmla="*/ 196366 h 5137936"/>
              <a:gd name="connsiteX4" fmla="*/ 2121223 w 2366010"/>
              <a:gd name="connsiteY4" fmla="*/ 13486 h 5137936"/>
              <a:gd name="connsiteX5" fmla="*/ 2366010 w 2366010"/>
              <a:gd name="connsiteY5" fmla="*/ 258273 h 5137936"/>
              <a:gd name="connsiteX6" fmla="*/ 2366010 w 2366010"/>
              <a:gd name="connsiteY6" fmla="*/ 4893149 h 5137936"/>
              <a:gd name="connsiteX7" fmla="*/ 2121223 w 2366010"/>
              <a:gd name="connsiteY7" fmla="*/ 5137936 h 5137936"/>
              <a:gd name="connsiteX8" fmla="*/ 244787 w 2366010"/>
              <a:gd name="connsiteY8" fmla="*/ 5137936 h 5137936"/>
              <a:gd name="connsiteX9" fmla="*/ 0 w 2366010"/>
              <a:gd name="connsiteY9" fmla="*/ 4893149 h 5137936"/>
              <a:gd name="connsiteX10" fmla="*/ 0 w 2366010"/>
              <a:gd name="connsiteY10" fmla="*/ 258273 h 5137936"/>
              <a:gd name="connsiteX0" fmla="*/ 0 w 2366010"/>
              <a:gd name="connsiteY0" fmla="*/ 251685 h 5131348"/>
              <a:gd name="connsiteX1" fmla="*/ 244787 w 2366010"/>
              <a:gd name="connsiteY1" fmla="*/ 6898 h 5131348"/>
              <a:gd name="connsiteX2" fmla="*/ 510540 w 2366010"/>
              <a:gd name="connsiteY2" fmla="*/ 10709 h 5131348"/>
              <a:gd name="connsiteX3" fmla="*/ 739140 w 2366010"/>
              <a:gd name="connsiteY3" fmla="*/ 189778 h 5131348"/>
              <a:gd name="connsiteX4" fmla="*/ 2121223 w 2366010"/>
              <a:gd name="connsiteY4" fmla="*/ 6898 h 5131348"/>
              <a:gd name="connsiteX5" fmla="*/ 2366010 w 2366010"/>
              <a:gd name="connsiteY5" fmla="*/ 251685 h 5131348"/>
              <a:gd name="connsiteX6" fmla="*/ 2366010 w 2366010"/>
              <a:gd name="connsiteY6" fmla="*/ 4886561 h 5131348"/>
              <a:gd name="connsiteX7" fmla="*/ 2121223 w 2366010"/>
              <a:gd name="connsiteY7" fmla="*/ 5131348 h 5131348"/>
              <a:gd name="connsiteX8" fmla="*/ 244787 w 2366010"/>
              <a:gd name="connsiteY8" fmla="*/ 5131348 h 5131348"/>
              <a:gd name="connsiteX9" fmla="*/ 0 w 2366010"/>
              <a:gd name="connsiteY9" fmla="*/ 4886561 h 5131348"/>
              <a:gd name="connsiteX10" fmla="*/ 0 w 2366010"/>
              <a:gd name="connsiteY10" fmla="*/ 251685 h 5131348"/>
              <a:gd name="connsiteX0" fmla="*/ 0 w 2366010"/>
              <a:gd name="connsiteY0" fmla="*/ 251685 h 5131348"/>
              <a:gd name="connsiteX1" fmla="*/ 244787 w 2366010"/>
              <a:gd name="connsiteY1" fmla="*/ 6898 h 5131348"/>
              <a:gd name="connsiteX2" fmla="*/ 510540 w 2366010"/>
              <a:gd name="connsiteY2" fmla="*/ 10709 h 5131348"/>
              <a:gd name="connsiteX3" fmla="*/ 727710 w 2366010"/>
              <a:gd name="connsiteY3" fmla="*/ 189778 h 5131348"/>
              <a:gd name="connsiteX4" fmla="*/ 2121223 w 2366010"/>
              <a:gd name="connsiteY4" fmla="*/ 6898 h 5131348"/>
              <a:gd name="connsiteX5" fmla="*/ 2366010 w 2366010"/>
              <a:gd name="connsiteY5" fmla="*/ 251685 h 5131348"/>
              <a:gd name="connsiteX6" fmla="*/ 2366010 w 2366010"/>
              <a:gd name="connsiteY6" fmla="*/ 4886561 h 5131348"/>
              <a:gd name="connsiteX7" fmla="*/ 2121223 w 2366010"/>
              <a:gd name="connsiteY7" fmla="*/ 5131348 h 5131348"/>
              <a:gd name="connsiteX8" fmla="*/ 244787 w 2366010"/>
              <a:gd name="connsiteY8" fmla="*/ 5131348 h 5131348"/>
              <a:gd name="connsiteX9" fmla="*/ 0 w 2366010"/>
              <a:gd name="connsiteY9" fmla="*/ 4886561 h 5131348"/>
              <a:gd name="connsiteX10" fmla="*/ 0 w 2366010"/>
              <a:gd name="connsiteY10" fmla="*/ 251685 h 5131348"/>
              <a:gd name="connsiteX0" fmla="*/ 0 w 2366010"/>
              <a:gd name="connsiteY0" fmla="*/ 255624 h 5135287"/>
              <a:gd name="connsiteX1" fmla="*/ 244787 w 2366010"/>
              <a:gd name="connsiteY1" fmla="*/ 10837 h 5135287"/>
              <a:gd name="connsiteX2" fmla="*/ 520700 w 2366010"/>
              <a:gd name="connsiteY2" fmla="*/ 7028 h 5135287"/>
              <a:gd name="connsiteX3" fmla="*/ 727710 w 2366010"/>
              <a:gd name="connsiteY3" fmla="*/ 193717 h 5135287"/>
              <a:gd name="connsiteX4" fmla="*/ 2121223 w 2366010"/>
              <a:gd name="connsiteY4" fmla="*/ 10837 h 5135287"/>
              <a:gd name="connsiteX5" fmla="*/ 2366010 w 2366010"/>
              <a:gd name="connsiteY5" fmla="*/ 255624 h 5135287"/>
              <a:gd name="connsiteX6" fmla="*/ 2366010 w 2366010"/>
              <a:gd name="connsiteY6" fmla="*/ 4890500 h 5135287"/>
              <a:gd name="connsiteX7" fmla="*/ 2121223 w 2366010"/>
              <a:gd name="connsiteY7" fmla="*/ 5135287 h 5135287"/>
              <a:gd name="connsiteX8" fmla="*/ 244787 w 2366010"/>
              <a:gd name="connsiteY8" fmla="*/ 5135287 h 5135287"/>
              <a:gd name="connsiteX9" fmla="*/ 0 w 2366010"/>
              <a:gd name="connsiteY9" fmla="*/ 4890500 h 5135287"/>
              <a:gd name="connsiteX10" fmla="*/ 0 w 2366010"/>
              <a:gd name="connsiteY10" fmla="*/ 255624 h 5135287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2121223 w 2366010"/>
              <a:gd name="connsiteY4" fmla="*/ 11860 h 5136310"/>
              <a:gd name="connsiteX5" fmla="*/ 2366010 w 2366010"/>
              <a:gd name="connsiteY5" fmla="*/ 256647 h 5136310"/>
              <a:gd name="connsiteX6" fmla="*/ 2366010 w 2366010"/>
              <a:gd name="connsiteY6" fmla="*/ 4891523 h 5136310"/>
              <a:gd name="connsiteX7" fmla="*/ 2121223 w 2366010"/>
              <a:gd name="connsiteY7" fmla="*/ 5136310 h 5136310"/>
              <a:gd name="connsiteX8" fmla="*/ 244787 w 2366010"/>
              <a:gd name="connsiteY8" fmla="*/ 5136310 h 5136310"/>
              <a:gd name="connsiteX9" fmla="*/ 0 w 2366010"/>
              <a:gd name="connsiteY9" fmla="*/ 4891523 h 5136310"/>
              <a:gd name="connsiteX10" fmla="*/ 0 w 2366010"/>
              <a:gd name="connsiteY10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2121223 w 2366010"/>
              <a:gd name="connsiteY4" fmla="*/ 11860 h 5136310"/>
              <a:gd name="connsiteX5" fmla="*/ 2366010 w 2366010"/>
              <a:gd name="connsiteY5" fmla="*/ 256647 h 5136310"/>
              <a:gd name="connsiteX6" fmla="*/ 2366010 w 2366010"/>
              <a:gd name="connsiteY6" fmla="*/ 4891523 h 5136310"/>
              <a:gd name="connsiteX7" fmla="*/ 2121223 w 2366010"/>
              <a:gd name="connsiteY7" fmla="*/ 5136310 h 5136310"/>
              <a:gd name="connsiteX8" fmla="*/ 244787 w 2366010"/>
              <a:gd name="connsiteY8" fmla="*/ 5136310 h 5136310"/>
              <a:gd name="connsiteX9" fmla="*/ 0 w 2366010"/>
              <a:gd name="connsiteY9" fmla="*/ 4891523 h 5136310"/>
              <a:gd name="connsiteX10" fmla="*/ 0 w 2366010"/>
              <a:gd name="connsiteY10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2381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2121223 w 2366010"/>
              <a:gd name="connsiteY5" fmla="*/ 11860 h 5136310"/>
              <a:gd name="connsiteX6" fmla="*/ 2366010 w 2366010"/>
              <a:gd name="connsiteY6" fmla="*/ 256647 h 5136310"/>
              <a:gd name="connsiteX7" fmla="*/ 2366010 w 2366010"/>
              <a:gd name="connsiteY7" fmla="*/ 4891523 h 5136310"/>
              <a:gd name="connsiteX8" fmla="*/ 2121223 w 2366010"/>
              <a:gd name="connsiteY8" fmla="*/ 5136310 h 5136310"/>
              <a:gd name="connsiteX9" fmla="*/ 244787 w 2366010"/>
              <a:gd name="connsiteY9" fmla="*/ 5136310 h 5136310"/>
              <a:gd name="connsiteX10" fmla="*/ 0 w 2366010"/>
              <a:gd name="connsiteY10" fmla="*/ 4891523 h 5136310"/>
              <a:gd name="connsiteX11" fmla="*/ 0 w 2366010"/>
              <a:gd name="connsiteY11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1758153 w 2366010"/>
              <a:gd name="connsiteY5" fmla="*/ 137593 h 5136310"/>
              <a:gd name="connsiteX6" fmla="*/ 2121223 w 2366010"/>
              <a:gd name="connsiteY6" fmla="*/ 11860 h 5136310"/>
              <a:gd name="connsiteX7" fmla="*/ 2366010 w 2366010"/>
              <a:gd name="connsiteY7" fmla="*/ 256647 h 5136310"/>
              <a:gd name="connsiteX8" fmla="*/ 2366010 w 2366010"/>
              <a:gd name="connsiteY8" fmla="*/ 4891523 h 5136310"/>
              <a:gd name="connsiteX9" fmla="*/ 2121223 w 2366010"/>
              <a:gd name="connsiteY9" fmla="*/ 5136310 h 5136310"/>
              <a:gd name="connsiteX10" fmla="*/ 244787 w 2366010"/>
              <a:gd name="connsiteY10" fmla="*/ 5136310 h 5136310"/>
              <a:gd name="connsiteX11" fmla="*/ 0 w 2366010"/>
              <a:gd name="connsiteY11" fmla="*/ 4891523 h 5136310"/>
              <a:gd name="connsiteX12" fmla="*/ 0 w 2366010"/>
              <a:gd name="connsiteY12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1765773 w 2366010"/>
              <a:gd name="connsiteY5" fmla="*/ 178233 h 5136310"/>
              <a:gd name="connsiteX6" fmla="*/ 2121223 w 2366010"/>
              <a:gd name="connsiteY6" fmla="*/ 11860 h 5136310"/>
              <a:gd name="connsiteX7" fmla="*/ 2366010 w 2366010"/>
              <a:gd name="connsiteY7" fmla="*/ 256647 h 5136310"/>
              <a:gd name="connsiteX8" fmla="*/ 2366010 w 2366010"/>
              <a:gd name="connsiteY8" fmla="*/ 4891523 h 5136310"/>
              <a:gd name="connsiteX9" fmla="*/ 2121223 w 2366010"/>
              <a:gd name="connsiteY9" fmla="*/ 5136310 h 5136310"/>
              <a:gd name="connsiteX10" fmla="*/ 244787 w 2366010"/>
              <a:gd name="connsiteY10" fmla="*/ 5136310 h 5136310"/>
              <a:gd name="connsiteX11" fmla="*/ 0 w 2366010"/>
              <a:gd name="connsiteY11" fmla="*/ 4891523 h 5136310"/>
              <a:gd name="connsiteX12" fmla="*/ 0 w 2366010"/>
              <a:gd name="connsiteY12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1773393 w 2366010"/>
              <a:gd name="connsiteY5" fmla="*/ 211253 h 5136310"/>
              <a:gd name="connsiteX6" fmla="*/ 2121223 w 2366010"/>
              <a:gd name="connsiteY6" fmla="*/ 11860 h 5136310"/>
              <a:gd name="connsiteX7" fmla="*/ 2366010 w 2366010"/>
              <a:gd name="connsiteY7" fmla="*/ 256647 h 5136310"/>
              <a:gd name="connsiteX8" fmla="*/ 2366010 w 2366010"/>
              <a:gd name="connsiteY8" fmla="*/ 4891523 h 5136310"/>
              <a:gd name="connsiteX9" fmla="*/ 2121223 w 2366010"/>
              <a:gd name="connsiteY9" fmla="*/ 5136310 h 5136310"/>
              <a:gd name="connsiteX10" fmla="*/ 244787 w 2366010"/>
              <a:gd name="connsiteY10" fmla="*/ 5136310 h 5136310"/>
              <a:gd name="connsiteX11" fmla="*/ 0 w 2366010"/>
              <a:gd name="connsiteY11" fmla="*/ 4891523 h 5136310"/>
              <a:gd name="connsiteX12" fmla="*/ 0 w 2366010"/>
              <a:gd name="connsiteY12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1760693 w 2366010"/>
              <a:gd name="connsiteY5" fmla="*/ 188393 h 5136310"/>
              <a:gd name="connsiteX6" fmla="*/ 2121223 w 2366010"/>
              <a:gd name="connsiteY6" fmla="*/ 11860 h 5136310"/>
              <a:gd name="connsiteX7" fmla="*/ 2366010 w 2366010"/>
              <a:gd name="connsiteY7" fmla="*/ 256647 h 5136310"/>
              <a:gd name="connsiteX8" fmla="*/ 2366010 w 2366010"/>
              <a:gd name="connsiteY8" fmla="*/ 4891523 h 5136310"/>
              <a:gd name="connsiteX9" fmla="*/ 2121223 w 2366010"/>
              <a:gd name="connsiteY9" fmla="*/ 5136310 h 5136310"/>
              <a:gd name="connsiteX10" fmla="*/ 244787 w 2366010"/>
              <a:gd name="connsiteY10" fmla="*/ 5136310 h 5136310"/>
              <a:gd name="connsiteX11" fmla="*/ 0 w 2366010"/>
              <a:gd name="connsiteY11" fmla="*/ 4891523 h 5136310"/>
              <a:gd name="connsiteX12" fmla="*/ 0 w 2366010"/>
              <a:gd name="connsiteY12" fmla="*/ 256647 h 5136310"/>
              <a:gd name="connsiteX0" fmla="*/ 0 w 2366010"/>
              <a:gd name="connsiteY0" fmla="*/ 256647 h 5136310"/>
              <a:gd name="connsiteX1" fmla="*/ 237167 w 2366010"/>
              <a:gd name="connsiteY1" fmla="*/ 9320 h 5136310"/>
              <a:gd name="connsiteX2" fmla="*/ 520700 w 2366010"/>
              <a:gd name="connsiteY2" fmla="*/ 8051 h 5136310"/>
              <a:gd name="connsiteX3" fmla="*/ 727710 w 2366010"/>
              <a:gd name="connsiteY3" fmla="*/ 194740 h 5136310"/>
              <a:gd name="connsiteX4" fmla="*/ 1364453 w 2366010"/>
              <a:gd name="connsiteY4" fmla="*/ 196013 h 5136310"/>
              <a:gd name="connsiteX5" fmla="*/ 1760693 w 2366010"/>
              <a:gd name="connsiteY5" fmla="*/ 188393 h 5136310"/>
              <a:gd name="connsiteX6" fmla="*/ 2121223 w 2366010"/>
              <a:gd name="connsiteY6" fmla="*/ 11860 h 5136310"/>
              <a:gd name="connsiteX7" fmla="*/ 2366010 w 2366010"/>
              <a:gd name="connsiteY7" fmla="*/ 256647 h 5136310"/>
              <a:gd name="connsiteX8" fmla="*/ 2366010 w 2366010"/>
              <a:gd name="connsiteY8" fmla="*/ 4891523 h 5136310"/>
              <a:gd name="connsiteX9" fmla="*/ 2121223 w 2366010"/>
              <a:gd name="connsiteY9" fmla="*/ 5136310 h 5136310"/>
              <a:gd name="connsiteX10" fmla="*/ 244787 w 2366010"/>
              <a:gd name="connsiteY10" fmla="*/ 5136310 h 5136310"/>
              <a:gd name="connsiteX11" fmla="*/ 0 w 2366010"/>
              <a:gd name="connsiteY11" fmla="*/ 4891523 h 5136310"/>
              <a:gd name="connsiteX12" fmla="*/ 0 w 2366010"/>
              <a:gd name="connsiteY12" fmla="*/ 256647 h 5136310"/>
              <a:gd name="connsiteX0" fmla="*/ 0 w 2366010"/>
              <a:gd name="connsiteY0" fmla="*/ 258231 h 5137894"/>
              <a:gd name="connsiteX1" fmla="*/ 237167 w 2366010"/>
              <a:gd name="connsiteY1" fmla="*/ 10904 h 5137894"/>
              <a:gd name="connsiteX2" fmla="*/ 520700 w 2366010"/>
              <a:gd name="connsiteY2" fmla="*/ 9635 h 5137894"/>
              <a:gd name="connsiteX3" fmla="*/ 727710 w 2366010"/>
              <a:gd name="connsiteY3" fmla="*/ 196324 h 5137894"/>
              <a:gd name="connsiteX4" fmla="*/ 1364453 w 2366010"/>
              <a:gd name="connsiteY4" fmla="*/ 197597 h 5137894"/>
              <a:gd name="connsiteX5" fmla="*/ 1760693 w 2366010"/>
              <a:gd name="connsiteY5" fmla="*/ 189977 h 5137894"/>
              <a:gd name="connsiteX6" fmla="*/ 1877533 w 2366010"/>
              <a:gd name="connsiteY6" fmla="*/ 37577 h 5137894"/>
              <a:gd name="connsiteX7" fmla="*/ 2121223 w 2366010"/>
              <a:gd name="connsiteY7" fmla="*/ 13444 h 5137894"/>
              <a:gd name="connsiteX8" fmla="*/ 2366010 w 2366010"/>
              <a:gd name="connsiteY8" fmla="*/ 258231 h 5137894"/>
              <a:gd name="connsiteX9" fmla="*/ 2366010 w 2366010"/>
              <a:gd name="connsiteY9" fmla="*/ 4893107 h 5137894"/>
              <a:gd name="connsiteX10" fmla="*/ 2121223 w 2366010"/>
              <a:gd name="connsiteY10" fmla="*/ 5137894 h 5137894"/>
              <a:gd name="connsiteX11" fmla="*/ 244787 w 2366010"/>
              <a:gd name="connsiteY11" fmla="*/ 5137894 h 5137894"/>
              <a:gd name="connsiteX12" fmla="*/ 0 w 2366010"/>
              <a:gd name="connsiteY12" fmla="*/ 4893107 h 5137894"/>
              <a:gd name="connsiteX13" fmla="*/ 0 w 2366010"/>
              <a:gd name="connsiteY13" fmla="*/ 258231 h 5137894"/>
              <a:gd name="connsiteX0" fmla="*/ 0 w 2366010"/>
              <a:gd name="connsiteY0" fmla="*/ 258231 h 5137894"/>
              <a:gd name="connsiteX1" fmla="*/ 237167 w 2366010"/>
              <a:gd name="connsiteY1" fmla="*/ 10904 h 5137894"/>
              <a:gd name="connsiteX2" fmla="*/ 520700 w 2366010"/>
              <a:gd name="connsiteY2" fmla="*/ 9635 h 5137894"/>
              <a:gd name="connsiteX3" fmla="*/ 727710 w 2366010"/>
              <a:gd name="connsiteY3" fmla="*/ 196324 h 5137894"/>
              <a:gd name="connsiteX4" fmla="*/ 1364453 w 2366010"/>
              <a:gd name="connsiteY4" fmla="*/ 197597 h 5137894"/>
              <a:gd name="connsiteX5" fmla="*/ 1760693 w 2366010"/>
              <a:gd name="connsiteY5" fmla="*/ 189977 h 5137894"/>
              <a:gd name="connsiteX6" fmla="*/ 1877533 w 2366010"/>
              <a:gd name="connsiteY6" fmla="*/ 37577 h 5137894"/>
              <a:gd name="connsiteX7" fmla="*/ 2121223 w 2366010"/>
              <a:gd name="connsiteY7" fmla="*/ 13444 h 5137894"/>
              <a:gd name="connsiteX8" fmla="*/ 2366010 w 2366010"/>
              <a:gd name="connsiteY8" fmla="*/ 258231 h 5137894"/>
              <a:gd name="connsiteX9" fmla="*/ 2366010 w 2366010"/>
              <a:gd name="connsiteY9" fmla="*/ 4893107 h 5137894"/>
              <a:gd name="connsiteX10" fmla="*/ 2121223 w 2366010"/>
              <a:gd name="connsiteY10" fmla="*/ 5137894 h 5137894"/>
              <a:gd name="connsiteX11" fmla="*/ 244787 w 2366010"/>
              <a:gd name="connsiteY11" fmla="*/ 5137894 h 5137894"/>
              <a:gd name="connsiteX12" fmla="*/ 0 w 2366010"/>
              <a:gd name="connsiteY12" fmla="*/ 4893107 h 5137894"/>
              <a:gd name="connsiteX13" fmla="*/ 0 w 2366010"/>
              <a:gd name="connsiteY13" fmla="*/ 258231 h 5137894"/>
              <a:gd name="connsiteX0" fmla="*/ 0 w 2366010"/>
              <a:gd name="connsiteY0" fmla="*/ 263996 h 5143659"/>
              <a:gd name="connsiteX1" fmla="*/ 237167 w 2366010"/>
              <a:gd name="connsiteY1" fmla="*/ 16669 h 5143659"/>
              <a:gd name="connsiteX2" fmla="*/ 520700 w 2366010"/>
              <a:gd name="connsiteY2" fmla="*/ 15400 h 5143659"/>
              <a:gd name="connsiteX3" fmla="*/ 727710 w 2366010"/>
              <a:gd name="connsiteY3" fmla="*/ 202089 h 5143659"/>
              <a:gd name="connsiteX4" fmla="*/ 1364453 w 2366010"/>
              <a:gd name="connsiteY4" fmla="*/ 203362 h 5143659"/>
              <a:gd name="connsiteX5" fmla="*/ 1760693 w 2366010"/>
              <a:gd name="connsiteY5" fmla="*/ 195742 h 5143659"/>
              <a:gd name="connsiteX6" fmla="*/ 1864833 w 2366010"/>
              <a:gd name="connsiteY6" fmla="*/ 25562 h 5143659"/>
              <a:gd name="connsiteX7" fmla="*/ 2121223 w 2366010"/>
              <a:gd name="connsiteY7" fmla="*/ 19209 h 5143659"/>
              <a:gd name="connsiteX8" fmla="*/ 2366010 w 2366010"/>
              <a:gd name="connsiteY8" fmla="*/ 263996 h 5143659"/>
              <a:gd name="connsiteX9" fmla="*/ 2366010 w 2366010"/>
              <a:gd name="connsiteY9" fmla="*/ 4898872 h 5143659"/>
              <a:gd name="connsiteX10" fmla="*/ 2121223 w 2366010"/>
              <a:gd name="connsiteY10" fmla="*/ 5143659 h 5143659"/>
              <a:gd name="connsiteX11" fmla="*/ 244787 w 2366010"/>
              <a:gd name="connsiteY11" fmla="*/ 5143659 h 5143659"/>
              <a:gd name="connsiteX12" fmla="*/ 0 w 2366010"/>
              <a:gd name="connsiteY12" fmla="*/ 4898872 h 5143659"/>
              <a:gd name="connsiteX13" fmla="*/ 0 w 2366010"/>
              <a:gd name="connsiteY13" fmla="*/ 263996 h 5143659"/>
              <a:gd name="connsiteX0" fmla="*/ 0 w 2366010"/>
              <a:gd name="connsiteY0" fmla="*/ 256648 h 5136311"/>
              <a:gd name="connsiteX1" fmla="*/ 237167 w 2366010"/>
              <a:gd name="connsiteY1" fmla="*/ 9321 h 5136311"/>
              <a:gd name="connsiteX2" fmla="*/ 520700 w 2366010"/>
              <a:gd name="connsiteY2" fmla="*/ 8052 h 5136311"/>
              <a:gd name="connsiteX3" fmla="*/ 727710 w 2366010"/>
              <a:gd name="connsiteY3" fmla="*/ 194741 h 5136311"/>
              <a:gd name="connsiteX4" fmla="*/ 1364453 w 2366010"/>
              <a:gd name="connsiteY4" fmla="*/ 196014 h 5136311"/>
              <a:gd name="connsiteX5" fmla="*/ 1760693 w 2366010"/>
              <a:gd name="connsiteY5" fmla="*/ 188394 h 5136311"/>
              <a:gd name="connsiteX6" fmla="*/ 1864833 w 2366010"/>
              <a:gd name="connsiteY6" fmla="*/ 18214 h 5136311"/>
              <a:gd name="connsiteX7" fmla="*/ 2121223 w 2366010"/>
              <a:gd name="connsiteY7" fmla="*/ 11861 h 5136311"/>
              <a:gd name="connsiteX8" fmla="*/ 2366010 w 2366010"/>
              <a:gd name="connsiteY8" fmla="*/ 256648 h 5136311"/>
              <a:gd name="connsiteX9" fmla="*/ 2366010 w 2366010"/>
              <a:gd name="connsiteY9" fmla="*/ 4891524 h 5136311"/>
              <a:gd name="connsiteX10" fmla="*/ 2121223 w 2366010"/>
              <a:gd name="connsiteY10" fmla="*/ 5136311 h 5136311"/>
              <a:gd name="connsiteX11" fmla="*/ 244787 w 2366010"/>
              <a:gd name="connsiteY11" fmla="*/ 5136311 h 5136311"/>
              <a:gd name="connsiteX12" fmla="*/ 0 w 2366010"/>
              <a:gd name="connsiteY12" fmla="*/ 4891524 h 5136311"/>
              <a:gd name="connsiteX13" fmla="*/ 0 w 2366010"/>
              <a:gd name="connsiteY13" fmla="*/ 256648 h 5136311"/>
              <a:gd name="connsiteX0" fmla="*/ 0 w 2366010"/>
              <a:gd name="connsiteY0" fmla="*/ 258309 h 5137972"/>
              <a:gd name="connsiteX1" fmla="*/ 237167 w 2366010"/>
              <a:gd name="connsiteY1" fmla="*/ 10982 h 5137972"/>
              <a:gd name="connsiteX2" fmla="*/ 520700 w 2366010"/>
              <a:gd name="connsiteY2" fmla="*/ 9713 h 5137972"/>
              <a:gd name="connsiteX3" fmla="*/ 727710 w 2366010"/>
              <a:gd name="connsiteY3" fmla="*/ 196402 h 5137972"/>
              <a:gd name="connsiteX4" fmla="*/ 1364453 w 2366010"/>
              <a:gd name="connsiteY4" fmla="*/ 197675 h 5137972"/>
              <a:gd name="connsiteX5" fmla="*/ 1760693 w 2366010"/>
              <a:gd name="connsiteY5" fmla="*/ 190055 h 5137972"/>
              <a:gd name="connsiteX6" fmla="*/ 1864833 w 2366010"/>
              <a:gd name="connsiteY6" fmla="*/ 19875 h 5137972"/>
              <a:gd name="connsiteX7" fmla="*/ 2121223 w 2366010"/>
              <a:gd name="connsiteY7" fmla="*/ 13522 h 5137972"/>
              <a:gd name="connsiteX8" fmla="*/ 2366010 w 2366010"/>
              <a:gd name="connsiteY8" fmla="*/ 258309 h 5137972"/>
              <a:gd name="connsiteX9" fmla="*/ 2366010 w 2366010"/>
              <a:gd name="connsiteY9" fmla="*/ 4893185 h 5137972"/>
              <a:gd name="connsiteX10" fmla="*/ 2121223 w 2366010"/>
              <a:gd name="connsiteY10" fmla="*/ 5137972 h 5137972"/>
              <a:gd name="connsiteX11" fmla="*/ 244787 w 2366010"/>
              <a:gd name="connsiteY11" fmla="*/ 5137972 h 5137972"/>
              <a:gd name="connsiteX12" fmla="*/ 0 w 2366010"/>
              <a:gd name="connsiteY12" fmla="*/ 4893185 h 5137972"/>
              <a:gd name="connsiteX13" fmla="*/ 0 w 2366010"/>
              <a:gd name="connsiteY13" fmla="*/ 258309 h 5137972"/>
              <a:gd name="connsiteX0" fmla="*/ 0 w 2366010"/>
              <a:gd name="connsiteY0" fmla="*/ 258309 h 5137972"/>
              <a:gd name="connsiteX1" fmla="*/ 237167 w 2366010"/>
              <a:gd name="connsiteY1" fmla="*/ 10982 h 5137972"/>
              <a:gd name="connsiteX2" fmla="*/ 520700 w 2366010"/>
              <a:gd name="connsiteY2" fmla="*/ 9713 h 5137972"/>
              <a:gd name="connsiteX3" fmla="*/ 727710 w 2366010"/>
              <a:gd name="connsiteY3" fmla="*/ 196402 h 5137972"/>
              <a:gd name="connsiteX4" fmla="*/ 1364453 w 2366010"/>
              <a:gd name="connsiteY4" fmla="*/ 197675 h 5137972"/>
              <a:gd name="connsiteX5" fmla="*/ 1753073 w 2366010"/>
              <a:gd name="connsiteY5" fmla="*/ 190055 h 5137972"/>
              <a:gd name="connsiteX6" fmla="*/ 1864833 w 2366010"/>
              <a:gd name="connsiteY6" fmla="*/ 19875 h 5137972"/>
              <a:gd name="connsiteX7" fmla="*/ 2121223 w 2366010"/>
              <a:gd name="connsiteY7" fmla="*/ 13522 h 5137972"/>
              <a:gd name="connsiteX8" fmla="*/ 2366010 w 2366010"/>
              <a:gd name="connsiteY8" fmla="*/ 258309 h 5137972"/>
              <a:gd name="connsiteX9" fmla="*/ 2366010 w 2366010"/>
              <a:gd name="connsiteY9" fmla="*/ 4893185 h 5137972"/>
              <a:gd name="connsiteX10" fmla="*/ 2121223 w 2366010"/>
              <a:gd name="connsiteY10" fmla="*/ 5137972 h 5137972"/>
              <a:gd name="connsiteX11" fmla="*/ 244787 w 2366010"/>
              <a:gd name="connsiteY11" fmla="*/ 5137972 h 5137972"/>
              <a:gd name="connsiteX12" fmla="*/ 0 w 2366010"/>
              <a:gd name="connsiteY12" fmla="*/ 4893185 h 5137972"/>
              <a:gd name="connsiteX13" fmla="*/ 0 w 2366010"/>
              <a:gd name="connsiteY13" fmla="*/ 258309 h 5137972"/>
              <a:gd name="connsiteX0" fmla="*/ 0 w 2366010"/>
              <a:gd name="connsiteY0" fmla="*/ 258309 h 5137972"/>
              <a:gd name="connsiteX1" fmla="*/ 237167 w 2366010"/>
              <a:gd name="connsiteY1" fmla="*/ 10982 h 5137972"/>
              <a:gd name="connsiteX2" fmla="*/ 520700 w 2366010"/>
              <a:gd name="connsiteY2" fmla="*/ 9713 h 5137972"/>
              <a:gd name="connsiteX3" fmla="*/ 727710 w 2366010"/>
              <a:gd name="connsiteY3" fmla="*/ 196402 h 5137972"/>
              <a:gd name="connsiteX4" fmla="*/ 1364453 w 2366010"/>
              <a:gd name="connsiteY4" fmla="*/ 197675 h 5137972"/>
              <a:gd name="connsiteX5" fmla="*/ 1753073 w 2366010"/>
              <a:gd name="connsiteY5" fmla="*/ 190055 h 5137972"/>
              <a:gd name="connsiteX6" fmla="*/ 1864833 w 2366010"/>
              <a:gd name="connsiteY6" fmla="*/ 19875 h 5137972"/>
              <a:gd name="connsiteX7" fmla="*/ 2121223 w 2366010"/>
              <a:gd name="connsiteY7" fmla="*/ 13522 h 5137972"/>
              <a:gd name="connsiteX8" fmla="*/ 2366010 w 2366010"/>
              <a:gd name="connsiteY8" fmla="*/ 258309 h 5137972"/>
              <a:gd name="connsiteX9" fmla="*/ 2366010 w 2366010"/>
              <a:gd name="connsiteY9" fmla="*/ 4893185 h 5137972"/>
              <a:gd name="connsiteX10" fmla="*/ 2121223 w 2366010"/>
              <a:gd name="connsiteY10" fmla="*/ 5137972 h 5137972"/>
              <a:gd name="connsiteX11" fmla="*/ 244787 w 2366010"/>
              <a:gd name="connsiteY11" fmla="*/ 5137972 h 5137972"/>
              <a:gd name="connsiteX12" fmla="*/ 0 w 2366010"/>
              <a:gd name="connsiteY12" fmla="*/ 4893185 h 5137972"/>
              <a:gd name="connsiteX13" fmla="*/ 0 w 2366010"/>
              <a:gd name="connsiteY13" fmla="*/ 258309 h 5137972"/>
              <a:gd name="connsiteX0" fmla="*/ 0 w 2366010"/>
              <a:gd name="connsiteY0" fmla="*/ 258309 h 5137972"/>
              <a:gd name="connsiteX1" fmla="*/ 237167 w 2366010"/>
              <a:gd name="connsiteY1" fmla="*/ 10982 h 5137972"/>
              <a:gd name="connsiteX2" fmla="*/ 520700 w 2366010"/>
              <a:gd name="connsiteY2" fmla="*/ 9713 h 5137972"/>
              <a:gd name="connsiteX3" fmla="*/ 727710 w 2366010"/>
              <a:gd name="connsiteY3" fmla="*/ 196402 h 5137972"/>
              <a:gd name="connsiteX4" fmla="*/ 1364453 w 2366010"/>
              <a:gd name="connsiteY4" fmla="*/ 197675 h 5137972"/>
              <a:gd name="connsiteX5" fmla="*/ 1753073 w 2366010"/>
              <a:gd name="connsiteY5" fmla="*/ 190055 h 5137972"/>
              <a:gd name="connsiteX6" fmla="*/ 1864833 w 2366010"/>
              <a:gd name="connsiteY6" fmla="*/ 19875 h 5137972"/>
              <a:gd name="connsiteX7" fmla="*/ 2121223 w 2366010"/>
              <a:gd name="connsiteY7" fmla="*/ 13522 h 5137972"/>
              <a:gd name="connsiteX8" fmla="*/ 2366010 w 2366010"/>
              <a:gd name="connsiteY8" fmla="*/ 258309 h 5137972"/>
              <a:gd name="connsiteX9" fmla="*/ 2366010 w 2366010"/>
              <a:gd name="connsiteY9" fmla="*/ 4893185 h 5137972"/>
              <a:gd name="connsiteX10" fmla="*/ 2121223 w 2366010"/>
              <a:gd name="connsiteY10" fmla="*/ 5137972 h 5137972"/>
              <a:gd name="connsiteX11" fmla="*/ 244787 w 2366010"/>
              <a:gd name="connsiteY11" fmla="*/ 5137972 h 5137972"/>
              <a:gd name="connsiteX12" fmla="*/ 0 w 2366010"/>
              <a:gd name="connsiteY12" fmla="*/ 4893185 h 5137972"/>
              <a:gd name="connsiteX13" fmla="*/ 0 w 2366010"/>
              <a:gd name="connsiteY13" fmla="*/ 258309 h 5137972"/>
              <a:gd name="connsiteX0" fmla="*/ 0 w 2366010"/>
              <a:gd name="connsiteY0" fmla="*/ 258309 h 5137972"/>
              <a:gd name="connsiteX1" fmla="*/ 237167 w 2366010"/>
              <a:gd name="connsiteY1" fmla="*/ 10982 h 5137972"/>
              <a:gd name="connsiteX2" fmla="*/ 520700 w 2366010"/>
              <a:gd name="connsiteY2" fmla="*/ 9713 h 5137972"/>
              <a:gd name="connsiteX3" fmla="*/ 727710 w 2366010"/>
              <a:gd name="connsiteY3" fmla="*/ 196402 h 5137972"/>
              <a:gd name="connsiteX4" fmla="*/ 1364453 w 2366010"/>
              <a:gd name="connsiteY4" fmla="*/ 197675 h 5137972"/>
              <a:gd name="connsiteX5" fmla="*/ 1753073 w 2366010"/>
              <a:gd name="connsiteY5" fmla="*/ 190055 h 5137972"/>
              <a:gd name="connsiteX6" fmla="*/ 1864833 w 2366010"/>
              <a:gd name="connsiteY6" fmla="*/ 19875 h 5137972"/>
              <a:gd name="connsiteX7" fmla="*/ 2121223 w 2366010"/>
              <a:gd name="connsiteY7" fmla="*/ 13522 h 5137972"/>
              <a:gd name="connsiteX8" fmla="*/ 2366010 w 2366010"/>
              <a:gd name="connsiteY8" fmla="*/ 258309 h 5137972"/>
              <a:gd name="connsiteX9" fmla="*/ 2366010 w 2366010"/>
              <a:gd name="connsiteY9" fmla="*/ 4893185 h 5137972"/>
              <a:gd name="connsiteX10" fmla="*/ 2121223 w 2366010"/>
              <a:gd name="connsiteY10" fmla="*/ 5137972 h 5137972"/>
              <a:gd name="connsiteX11" fmla="*/ 244787 w 2366010"/>
              <a:gd name="connsiteY11" fmla="*/ 5137972 h 5137972"/>
              <a:gd name="connsiteX12" fmla="*/ 0 w 2366010"/>
              <a:gd name="connsiteY12" fmla="*/ 4893185 h 5137972"/>
              <a:gd name="connsiteX13" fmla="*/ 0 w 2366010"/>
              <a:gd name="connsiteY13" fmla="*/ 258309 h 5137972"/>
              <a:gd name="connsiteX0" fmla="*/ 0 w 2366010"/>
              <a:gd name="connsiteY0" fmla="*/ 260632 h 5140295"/>
              <a:gd name="connsiteX1" fmla="*/ 237167 w 2366010"/>
              <a:gd name="connsiteY1" fmla="*/ 13305 h 5140295"/>
              <a:gd name="connsiteX2" fmla="*/ 520700 w 2366010"/>
              <a:gd name="connsiteY2" fmla="*/ 12036 h 5140295"/>
              <a:gd name="connsiteX3" fmla="*/ 727710 w 2366010"/>
              <a:gd name="connsiteY3" fmla="*/ 198725 h 5140295"/>
              <a:gd name="connsiteX4" fmla="*/ 1364453 w 2366010"/>
              <a:gd name="connsiteY4" fmla="*/ 199998 h 5140295"/>
              <a:gd name="connsiteX5" fmla="*/ 1753073 w 2366010"/>
              <a:gd name="connsiteY5" fmla="*/ 192378 h 5140295"/>
              <a:gd name="connsiteX6" fmla="*/ 1857213 w 2366010"/>
              <a:gd name="connsiteY6" fmla="*/ 14578 h 5140295"/>
              <a:gd name="connsiteX7" fmla="*/ 2121223 w 2366010"/>
              <a:gd name="connsiteY7" fmla="*/ 15845 h 5140295"/>
              <a:gd name="connsiteX8" fmla="*/ 2366010 w 2366010"/>
              <a:gd name="connsiteY8" fmla="*/ 260632 h 5140295"/>
              <a:gd name="connsiteX9" fmla="*/ 2366010 w 2366010"/>
              <a:gd name="connsiteY9" fmla="*/ 4895508 h 5140295"/>
              <a:gd name="connsiteX10" fmla="*/ 2121223 w 2366010"/>
              <a:gd name="connsiteY10" fmla="*/ 5140295 h 5140295"/>
              <a:gd name="connsiteX11" fmla="*/ 244787 w 2366010"/>
              <a:gd name="connsiteY11" fmla="*/ 5140295 h 5140295"/>
              <a:gd name="connsiteX12" fmla="*/ 0 w 2366010"/>
              <a:gd name="connsiteY12" fmla="*/ 4895508 h 5140295"/>
              <a:gd name="connsiteX13" fmla="*/ 0 w 2366010"/>
              <a:gd name="connsiteY13" fmla="*/ 260632 h 5140295"/>
              <a:gd name="connsiteX0" fmla="*/ 0 w 2366010"/>
              <a:gd name="connsiteY0" fmla="*/ 262169 h 5141832"/>
              <a:gd name="connsiteX1" fmla="*/ 237167 w 2366010"/>
              <a:gd name="connsiteY1" fmla="*/ 14842 h 5141832"/>
              <a:gd name="connsiteX2" fmla="*/ 520700 w 2366010"/>
              <a:gd name="connsiteY2" fmla="*/ 13573 h 5141832"/>
              <a:gd name="connsiteX3" fmla="*/ 727710 w 2366010"/>
              <a:gd name="connsiteY3" fmla="*/ 200262 h 5141832"/>
              <a:gd name="connsiteX4" fmla="*/ 1364453 w 2366010"/>
              <a:gd name="connsiteY4" fmla="*/ 201535 h 5141832"/>
              <a:gd name="connsiteX5" fmla="*/ 1753073 w 2366010"/>
              <a:gd name="connsiteY5" fmla="*/ 193915 h 5141832"/>
              <a:gd name="connsiteX6" fmla="*/ 1857213 w 2366010"/>
              <a:gd name="connsiteY6" fmla="*/ 16115 h 5141832"/>
              <a:gd name="connsiteX7" fmla="*/ 2121223 w 2366010"/>
              <a:gd name="connsiteY7" fmla="*/ 17382 h 5141832"/>
              <a:gd name="connsiteX8" fmla="*/ 2366010 w 2366010"/>
              <a:gd name="connsiteY8" fmla="*/ 262169 h 5141832"/>
              <a:gd name="connsiteX9" fmla="*/ 2366010 w 2366010"/>
              <a:gd name="connsiteY9" fmla="*/ 4897045 h 5141832"/>
              <a:gd name="connsiteX10" fmla="*/ 2121223 w 2366010"/>
              <a:gd name="connsiteY10" fmla="*/ 5141832 h 5141832"/>
              <a:gd name="connsiteX11" fmla="*/ 244787 w 2366010"/>
              <a:gd name="connsiteY11" fmla="*/ 5141832 h 5141832"/>
              <a:gd name="connsiteX12" fmla="*/ 0 w 2366010"/>
              <a:gd name="connsiteY12" fmla="*/ 4897045 h 5141832"/>
              <a:gd name="connsiteX13" fmla="*/ 0 w 2366010"/>
              <a:gd name="connsiteY13" fmla="*/ 262169 h 5141832"/>
              <a:gd name="connsiteX0" fmla="*/ 0 w 2366010"/>
              <a:gd name="connsiteY0" fmla="*/ 259044 h 5138707"/>
              <a:gd name="connsiteX1" fmla="*/ 237167 w 2366010"/>
              <a:gd name="connsiteY1" fmla="*/ 11717 h 5138707"/>
              <a:gd name="connsiteX2" fmla="*/ 520700 w 2366010"/>
              <a:gd name="connsiteY2" fmla="*/ 10448 h 5138707"/>
              <a:gd name="connsiteX3" fmla="*/ 727710 w 2366010"/>
              <a:gd name="connsiteY3" fmla="*/ 197137 h 5138707"/>
              <a:gd name="connsiteX4" fmla="*/ 1364453 w 2366010"/>
              <a:gd name="connsiteY4" fmla="*/ 198410 h 5138707"/>
              <a:gd name="connsiteX5" fmla="*/ 1753073 w 2366010"/>
              <a:gd name="connsiteY5" fmla="*/ 190790 h 5138707"/>
              <a:gd name="connsiteX6" fmla="*/ 1857213 w 2366010"/>
              <a:gd name="connsiteY6" fmla="*/ 12990 h 5138707"/>
              <a:gd name="connsiteX7" fmla="*/ 2121223 w 2366010"/>
              <a:gd name="connsiteY7" fmla="*/ 14257 h 5138707"/>
              <a:gd name="connsiteX8" fmla="*/ 2366010 w 2366010"/>
              <a:gd name="connsiteY8" fmla="*/ 259044 h 5138707"/>
              <a:gd name="connsiteX9" fmla="*/ 2366010 w 2366010"/>
              <a:gd name="connsiteY9" fmla="*/ 4893920 h 5138707"/>
              <a:gd name="connsiteX10" fmla="*/ 2121223 w 2366010"/>
              <a:gd name="connsiteY10" fmla="*/ 5138707 h 5138707"/>
              <a:gd name="connsiteX11" fmla="*/ 244787 w 2366010"/>
              <a:gd name="connsiteY11" fmla="*/ 5138707 h 5138707"/>
              <a:gd name="connsiteX12" fmla="*/ 0 w 2366010"/>
              <a:gd name="connsiteY12" fmla="*/ 4893920 h 5138707"/>
              <a:gd name="connsiteX13" fmla="*/ 0 w 2366010"/>
              <a:gd name="connsiteY13" fmla="*/ 259044 h 5138707"/>
              <a:gd name="connsiteX0" fmla="*/ 0 w 2366010"/>
              <a:gd name="connsiteY0" fmla="*/ 259044 h 5138707"/>
              <a:gd name="connsiteX1" fmla="*/ 237167 w 2366010"/>
              <a:gd name="connsiteY1" fmla="*/ 11717 h 5138707"/>
              <a:gd name="connsiteX2" fmla="*/ 520700 w 2366010"/>
              <a:gd name="connsiteY2" fmla="*/ 10448 h 5138707"/>
              <a:gd name="connsiteX3" fmla="*/ 727710 w 2366010"/>
              <a:gd name="connsiteY3" fmla="*/ 197137 h 5138707"/>
              <a:gd name="connsiteX4" fmla="*/ 1364453 w 2366010"/>
              <a:gd name="connsiteY4" fmla="*/ 198410 h 5138707"/>
              <a:gd name="connsiteX5" fmla="*/ 1753073 w 2366010"/>
              <a:gd name="connsiteY5" fmla="*/ 190790 h 5138707"/>
              <a:gd name="connsiteX6" fmla="*/ 1857213 w 2366010"/>
              <a:gd name="connsiteY6" fmla="*/ 12990 h 5138707"/>
              <a:gd name="connsiteX7" fmla="*/ 2121223 w 2366010"/>
              <a:gd name="connsiteY7" fmla="*/ 14257 h 5138707"/>
              <a:gd name="connsiteX8" fmla="*/ 2366010 w 2366010"/>
              <a:gd name="connsiteY8" fmla="*/ 259044 h 5138707"/>
              <a:gd name="connsiteX9" fmla="*/ 2366010 w 2366010"/>
              <a:gd name="connsiteY9" fmla="*/ 4893920 h 5138707"/>
              <a:gd name="connsiteX10" fmla="*/ 2121223 w 2366010"/>
              <a:gd name="connsiteY10" fmla="*/ 5138707 h 5138707"/>
              <a:gd name="connsiteX11" fmla="*/ 244787 w 2366010"/>
              <a:gd name="connsiteY11" fmla="*/ 5138707 h 5138707"/>
              <a:gd name="connsiteX12" fmla="*/ 0 w 2366010"/>
              <a:gd name="connsiteY12" fmla="*/ 4893920 h 5138707"/>
              <a:gd name="connsiteX13" fmla="*/ 0 w 2366010"/>
              <a:gd name="connsiteY13" fmla="*/ 259044 h 5138707"/>
              <a:gd name="connsiteX0" fmla="*/ 0 w 2366010"/>
              <a:gd name="connsiteY0" fmla="*/ 262169 h 5141832"/>
              <a:gd name="connsiteX1" fmla="*/ 237167 w 2366010"/>
              <a:gd name="connsiteY1" fmla="*/ 14842 h 5141832"/>
              <a:gd name="connsiteX2" fmla="*/ 520700 w 2366010"/>
              <a:gd name="connsiteY2" fmla="*/ 13573 h 5141832"/>
              <a:gd name="connsiteX3" fmla="*/ 727710 w 2366010"/>
              <a:gd name="connsiteY3" fmla="*/ 200262 h 5141832"/>
              <a:gd name="connsiteX4" fmla="*/ 1364453 w 2366010"/>
              <a:gd name="connsiteY4" fmla="*/ 201535 h 5141832"/>
              <a:gd name="connsiteX5" fmla="*/ 1753073 w 2366010"/>
              <a:gd name="connsiteY5" fmla="*/ 193915 h 5141832"/>
              <a:gd name="connsiteX6" fmla="*/ 1857213 w 2366010"/>
              <a:gd name="connsiteY6" fmla="*/ 16115 h 5141832"/>
              <a:gd name="connsiteX7" fmla="*/ 2121223 w 2366010"/>
              <a:gd name="connsiteY7" fmla="*/ 17382 h 5141832"/>
              <a:gd name="connsiteX8" fmla="*/ 2366010 w 2366010"/>
              <a:gd name="connsiteY8" fmla="*/ 262169 h 5141832"/>
              <a:gd name="connsiteX9" fmla="*/ 2366010 w 2366010"/>
              <a:gd name="connsiteY9" fmla="*/ 4897045 h 5141832"/>
              <a:gd name="connsiteX10" fmla="*/ 2121223 w 2366010"/>
              <a:gd name="connsiteY10" fmla="*/ 5141832 h 5141832"/>
              <a:gd name="connsiteX11" fmla="*/ 244787 w 2366010"/>
              <a:gd name="connsiteY11" fmla="*/ 5141832 h 5141832"/>
              <a:gd name="connsiteX12" fmla="*/ 0 w 2366010"/>
              <a:gd name="connsiteY12" fmla="*/ 4897045 h 5141832"/>
              <a:gd name="connsiteX13" fmla="*/ 0 w 2366010"/>
              <a:gd name="connsiteY13" fmla="*/ 262169 h 5141832"/>
              <a:gd name="connsiteX0" fmla="*/ 0 w 2366010"/>
              <a:gd name="connsiteY0" fmla="*/ 262169 h 5141832"/>
              <a:gd name="connsiteX1" fmla="*/ 237167 w 2366010"/>
              <a:gd name="connsiteY1" fmla="*/ 14842 h 5141832"/>
              <a:gd name="connsiteX2" fmla="*/ 520700 w 2366010"/>
              <a:gd name="connsiteY2" fmla="*/ 13573 h 5141832"/>
              <a:gd name="connsiteX3" fmla="*/ 727710 w 2366010"/>
              <a:gd name="connsiteY3" fmla="*/ 200262 h 5141832"/>
              <a:gd name="connsiteX4" fmla="*/ 1364453 w 2366010"/>
              <a:gd name="connsiteY4" fmla="*/ 201535 h 5141832"/>
              <a:gd name="connsiteX5" fmla="*/ 1755613 w 2366010"/>
              <a:gd name="connsiteY5" fmla="*/ 186299 h 5141832"/>
              <a:gd name="connsiteX6" fmla="*/ 1857213 w 2366010"/>
              <a:gd name="connsiteY6" fmla="*/ 16115 h 5141832"/>
              <a:gd name="connsiteX7" fmla="*/ 2121223 w 2366010"/>
              <a:gd name="connsiteY7" fmla="*/ 17382 h 5141832"/>
              <a:gd name="connsiteX8" fmla="*/ 2366010 w 2366010"/>
              <a:gd name="connsiteY8" fmla="*/ 262169 h 5141832"/>
              <a:gd name="connsiteX9" fmla="*/ 2366010 w 2366010"/>
              <a:gd name="connsiteY9" fmla="*/ 4897045 h 5141832"/>
              <a:gd name="connsiteX10" fmla="*/ 2121223 w 2366010"/>
              <a:gd name="connsiteY10" fmla="*/ 5141832 h 5141832"/>
              <a:gd name="connsiteX11" fmla="*/ 244787 w 2366010"/>
              <a:gd name="connsiteY11" fmla="*/ 5141832 h 5141832"/>
              <a:gd name="connsiteX12" fmla="*/ 0 w 2366010"/>
              <a:gd name="connsiteY12" fmla="*/ 4897045 h 5141832"/>
              <a:gd name="connsiteX13" fmla="*/ 0 w 2366010"/>
              <a:gd name="connsiteY13" fmla="*/ 262169 h 5141832"/>
              <a:gd name="connsiteX0" fmla="*/ 0 w 2366010"/>
              <a:gd name="connsiteY0" fmla="*/ 262169 h 5141832"/>
              <a:gd name="connsiteX1" fmla="*/ 237167 w 2366010"/>
              <a:gd name="connsiteY1" fmla="*/ 14842 h 5141832"/>
              <a:gd name="connsiteX2" fmla="*/ 520700 w 2366010"/>
              <a:gd name="connsiteY2" fmla="*/ 13573 h 5141832"/>
              <a:gd name="connsiteX3" fmla="*/ 727710 w 2366010"/>
              <a:gd name="connsiteY3" fmla="*/ 200262 h 5141832"/>
              <a:gd name="connsiteX4" fmla="*/ 1364453 w 2366010"/>
              <a:gd name="connsiteY4" fmla="*/ 201535 h 5141832"/>
              <a:gd name="connsiteX5" fmla="*/ 1755613 w 2366010"/>
              <a:gd name="connsiteY5" fmla="*/ 186299 h 5141832"/>
              <a:gd name="connsiteX6" fmla="*/ 1857213 w 2366010"/>
              <a:gd name="connsiteY6" fmla="*/ 16115 h 5141832"/>
              <a:gd name="connsiteX7" fmla="*/ 2121223 w 2366010"/>
              <a:gd name="connsiteY7" fmla="*/ 17382 h 5141832"/>
              <a:gd name="connsiteX8" fmla="*/ 2366010 w 2366010"/>
              <a:gd name="connsiteY8" fmla="*/ 262169 h 5141832"/>
              <a:gd name="connsiteX9" fmla="*/ 2366010 w 2366010"/>
              <a:gd name="connsiteY9" fmla="*/ 4897045 h 5141832"/>
              <a:gd name="connsiteX10" fmla="*/ 2121223 w 2366010"/>
              <a:gd name="connsiteY10" fmla="*/ 5141832 h 5141832"/>
              <a:gd name="connsiteX11" fmla="*/ 244787 w 2366010"/>
              <a:gd name="connsiteY11" fmla="*/ 5141832 h 5141832"/>
              <a:gd name="connsiteX12" fmla="*/ 0 w 2366010"/>
              <a:gd name="connsiteY12" fmla="*/ 4897045 h 5141832"/>
              <a:gd name="connsiteX13" fmla="*/ 0 w 2366010"/>
              <a:gd name="connsiteY13" fmla="*/ 262169 h 5141832"/>
              <a:gd name="connsiteX0" fmla="*/ 0 w 2366010"/>
              <a:gd name="connsiteY0" fmla="*/ 261383 h 5141046"/>
              <a:gd name="connsiteX1" fmla="*/ 237167 w 2366010"/>
              <a:gd name="connsiteY1" fmla="*/ 14056 h 5141046"/>
              <a:gd name="connsiteX2" fmla="*/ 520700 w 2366010"/>
              <a:gd name="connsiteY2" fmla="*/ 12787 h 5141046"/>
              <a:gd name="connsiteX3" fmla="*/ 727710 w 2366010"/>
              <a:gd name="connsiteY3" fmla="*/ 199476 h 5141046"/>
              <a:gd name="connsiteX4" fmla="*/ 1364453 w 2366010"/>
              <a:gd name="connsiteY4" fmla="*/ 200749 h 5141046"/>
              <a:gd name="connsiteX5" fmla="*/ 1755613 w 2366010"/>
              <a:gd name="connsiteY5" fmla="*/ 185513 h 5141046"/>
              <a:gd name="connsiteX6" fmla="*/ 1857213 w 2366010"/>
              <a:gd name="connsiteY6" fmla="*/ 15329 h 5141046"/>
              <a:gd name="connsiteX7" fmla="*/ 2121223 w 2366010"/>
              <a:gd name="connsiteY7" fmla="*/ 16596 h 5141046"/>
              <a:gd name="connsiteX8" fmla="*/ 2366010 w 2366010"/>
              <a:gd name="connsiteY8" fmla="*/ 261383 h 5141046"/>
              <a:gd name="connsiteX9" fmla="*/ 2366010 w 2366010"/>
              <a:gd name="connsiteY9" fmla="*/ 4896259 h 5141046"/>
              <a:gd name="connsiteX10" fmla="*/ 2121223 w 2366010"/>
              <a:gd name="connsiteY10" fmla="*/ 5141046 h 5141046"/>
              <a:gd name="connsiteX11" fmla="*/ 244787 w 2366010"/>
              <a:gd name="connsiteY11" fmla="*/ 5141046 h 5141046"/>
              <a:gd name="connsiteX12" fmla="*/ 0 w 2366010"/>
              <a:gd name="connsiteY12" fmla="*/ 4896259 h 5141046"/>
              <a:gd name="connsiteX13" fmla="*/ 0 w 2366010"/>
              <a:gd name="connsiteY13" fmla="*/ 261383 h 5141046"/>
              <a:gd name="connsiteX0" fmla="*/ 0 w 2366010"/>
              <a:gd name="connsiteY0" fmla="*/ 261383 h 5141046"/>
              <a:gd name="connsiteX1" fmla="*/ 237167 w 2366010"/>
              <a:gd name="connsiteY1" fmla="*/ 14056 h 5141046"/>
              <a:gd name="connsiteX2" fmla="*/ 520700 w 2366010"/>
              <a:gd name="connsiteY2" fmla="*/ 12787 h 5141046"/>
              <a:gd name="connsiteX3" fmla="*/ 727710 w 2366010"/>
              <a:gd name="connsiteY3" fmla="*/ 199476 h 5141046"/>
              <a:gd name="connsiteX4" fmla="*/ 1364453 w 2366010"/>
              <a:gd name="connsiteY4" fmla="*/ 200749 h 5141046"/>
              <a:gd name="connsiteX5" fmla="*/ 1755613 w 2366010"/>
              <a:gd name="connsiteY5" fmla="*/ 185513 h 5141046"/>
              <a:gd name="connsiteX6" fmla="*/ 1857213 w 2366010"/>
              <a:gd name="connsiteY6" fmla="*/ 15329 h 5141046"/>
              <a:gd name="connsiteX7" fmla="*/ 2121223 w 2366010"/>
              <a:gd name="connsiteY7" fmla="*/ 16596 h 5141046"/>
              <a:gd name="connsiteX8" fmla="*/ 2366010 w 2366010"/>
              <a:gd name="connsiteY8" fmla="*/ 261383 h 5141046"/>
              <a:gd name="connsiteX9" fmla="*/ 2366010 w 2366010"/>
              <a:gd name="connsiteY9" fmla="*/ 4896259 h 5141046"/>
              <a:gd name="connsiteX10" fmla="*/ 2121223 w 2366010"/>
              <a:gd name="connsiteY10" fmla="*/ 5141046 h 5141046"/>
              <a:gd name="connsiteX11" fmla="*/ 244787 w 2366010"/>
              <a:gd name="connsiteY11" fmla="*/ 5141046 h 5141046"/>
              <a:gd name="connsiteX12" fmla="*/ 0 w 2366010"/>
              <a:gd name="connsiteY12" fmla="*/ 4896259 h 5141046"/>
              <a:gd name="connsiteX13" fmla="*/ 0 w 2366010"/>
              <a:gd name="connsiteY13" fmla="*/ 261383 h 5141046"/>
              <a:gd name="connsiteX0" fmla="*/ 0 w 2366010"/>
              <a:gd name="connsiteY0" fmla="*/ 266517 h 5146180"/>
              <a:gd name="connsiteX1" fmla="*/ 237167 w 2366010"/>
              <a:gd name="connsiteY1" fmla="*/ 19190 h 5146180"/>
              <a:gd name="connsiteX2" fmla="*/ 520700 w 2366010"/>
              <a:gd name="connsiteY2" fmla="*/ 17921 h 5146180"/>
              <a:gd name="connsiteX3" fmla="*/ 727710 w 2366010"/>
              <a:gd name="connsiteY3" fmla="*/ 204610 h 5146180"/>
              <a:gd name="connsiteX4" fmla="*/ 1364453 w 2366010"/>
              <a:gd name="connsiteY4" fmla="*/ 205883 h 5146180"/>
              <a:gd name="connsiteX5" fmla="*/ 1755613 w 2366010"/>
              <a:gd name="connsiteY5" fmla="*/ 190647 h 5146180"/>
              <a:gd name="connsiteX6" fmla="*/ 1857213 w 2366010"/>
              <a:gd name="connsiteY6" fmla="*/ 20463 h 5146180"/>
              <a:gd name="connsiteX7" fmla="*/ 2133923 w 2366010"/>
              <a:gd name="connsiteY7" fmla="*/ 14114 h 5146180"/>
              <a:gd name="connsiteX8" fmla="*/ 2366010 w 2366010"/>
              <a:gd name="connsiteY8" fmla="*/ 266517 h 5146180"/>
              <a:gd name="connsiteX9" fmla="*/ 2366010 w 2366010"/>
              <a:gd name="connsiteY9" fmla="*/ 4901393 h 5146180"/>
              <a:gd name="connsiteX10" fmla="*/ 2121223 w 2366010"/>
              <a:gd name="connsiteY10" fmla="*/ 5146180 h 5146180"/>
              <a:gd name="connsiteX11" fmla="*/ 244787 w 2366010"/>
              <a:gd name="connsiteY11" fmla="*/ 5146180 h 5146180"/>
              <a:gd name="connsiteX12" fmla="*/ 0 w 2366010"/>
              <a:gd name="connsiteY12" fmla="*/ 4901393 h 5146180"/>
              <a:gd name="connsiteX13" fmla="*/ 0 w 2366010"/>
              <a:gd name="connsiteY13" fmla="*/ 266517 h 5146180"/>
              <a:gd name="connsiteX0" fmla="*/ 0 w 2366010"/>
              <a:gd name="connsiteY0" fmla="*/ 266517 h 5146180"/>
              <a:gd name="connsiteX1" fmla="*/ 237167 w 2366010"/>
              <a:gd name="connsiteY1" fmla="*/ 19190 h 5146180"/>
              <a:gd name="connsiteX2" fmla="*/ 520700 w 2366010"/>
              <a:gd name="connsiteY2" fmla="*/ 17921 h 5146180"/>
              <a:gd name="connsiteX3" fmla="*/ 727710 w 2366010"/>
              <a:gd name="connsiteY3" fmla="*/ 204610 h 5146180"/>
              <a:gd name="connsiteX4" fmla="*/ 1364453 w 2366010"/>
              <a:gd name="connsiteY4" fmla="*/ 205883 h 5146180"/>
              <a:gd name="connsiteX5" fmla="*/ 1755613 w 2366010"/>
              <a:gd name="connsiteY5" fmla="*/ 190647 h 5146180"/>
              <a:gd name="connsiteX6" fmla="*/ 1857213 w 2366010"/>
              <a:gd name="connsiteY6" fmla="*/ 20463 h 5146180"/>
              <a:gd name="connsiteX7" fmla="*/ 2133923 w 2366010"/>
              <a:gd name="connsiteY7" fmla="*/ 14114 h 5146180"/>
              <a:gd name="connsiteX8" fmla="*/ 2366010 w 2366010"/>
              <a:gd name="connsiteY8" fmla="*/ 266517 h 5146180"/>
              <a:gd name="connsiteX9" fmla="*/ 2366010 w 2366010"/>
              <a:gd name="connsiteY9" fmla="*/ 4901393 h 5146180"/>
              <a:gd name="connsiteX10" fmla="*/ 2121223 w 2366010"/>
              <a:gd name="connsiteY10" fmla="*/ 5146180 h 5146180"/>
              <a:gd name="connsiteX11" fmla="*/ 244787 w 2366010"/>
              <a:gd name="connsiteY11" fmla="*/ 5146180 h 5146180"/>
              <a:gd name="connsiteX12" fmla="*/ 0 w 2366010"/>
              <a:gd name="connsiteY12" fmla="*/ 4901393 h 5146180"/>
              <a:gd name="connsiteX13" fmla="*/ 0 w 2366010"/>
              <a:gd name="connsiteY13" fmla="*/ 266517 h 5146180"/>
              <a:gd name="connsiteX0" fmla="*/ 0 w 2366010"/>
              <a:gd name="connsiteY0" fmla="*/ 267643 h 5147306"/>
              <a:gd name="connsiteX1" fmla="*/ 237167 w 2366010"/>
              <a:gd name="connsiteY1" fmla="*/ 20316 h 5147306"/>
              <a:gd name="connsiteX2" fmla="*/ 520700 w 2366010"/>
              <a:gd name="connsiteY2" fmla="*/ 19047 h 5147306"/>
              <a:gd name="connsiteX3" fmla="*/ 727710 w 2366010"/>
              <a:gd name="connsiteY3" fmla="*/ 205736 h 5147306"/>
              <a:gd name="connsiteX4" fmla="*/ 1364453 w 2366010"/>
              <a:gd name="connsiteY4" fmla="*/ 207009 h 5147306"/>
              <a:gd name="connsiteX5" fmla="*/ 1755613 w 2366010"/>
              <a:gd name="connsiteY5" fmla="*/ 191773 h 5147306"/>
              <a:gd name="connsiteX6" fmla="*/ 1857213 w 2366010"/>
              <a:gd name="connsiteY6" fmla="*/ 21589 h 5147306"/>
              <a:gd name="connsiteX7" fmla="*/ 2133923 w 2366010"/>
              <a:gd name="connsiteY7" fmla="*/ 15240 h 5147306"/>
              <a:gd name="connsiteX8" fmla="*/ 2366010 w 2366010"/>
              <a:gd name="connsiteY8" fmla="*/ 267643 h 5147306"/>
              <a:gd name="connsiteX9" fmla="*/ 2366010 w 2366010"/>
              <a:gd name="connsiteY9" fmla="*/ 4902519 h 5147306"/>
              <a:gd name="connsiteX10" fmla="*/ 2121223 w 2366010"/>
              <a:gd name="connsiteY10" fmla="*/ 5147306 h 5147306"/>
              <a:gd name="connsiteX11" fmla="*/ 244787 w 2366010"/>
              <a:gd name="connsiteY11" fmla="*/ 5147306 h 5147306"/>
              <a:gd name="connsiteX12" fmla="*/ 0 w 2366010"/>
              <a:gd name="connsiteY12" fmla="*/ 4902519 h 5147306"/>
              <a:gd name="connsiteX13" fmla="*/ 0 w 2366010"/>
              <a:gd name="connsiteY13" fmla="*/ 267643 h 5147306"/>
              <a:gd name="connsiteX0" fmla="*/ 0 w 2366010"/>
              <a:gd name="connsiteY0" fmla="*/ 267643 h 5147306"/>
              <a:gd name="connsiteX1" fmla="*/ 237167 w 2366010"/>
              <a:gd name="connsiteY1" fmla="*/ 20316 h 5147306"/>
              <a:gd name="connsiteX2" fmla="*/ 520700 w 2366010"/>
              <a:gd name="connsiteY2" fmla="*/ 19047 h 5147306"/>
              <a:gd name="connsiteX3" fmla="*/ 727710 w 2366010"/>
              <a:gd name="connsiteY3" fmla="*/ 205736 h 5147306"/>
              <a:gd name="connsiteX4" fmla="*/ 1274918 w 2366010"/>
              <a:gd name="connsiteY4" fmla="*/ 205105 h 5147306"/>
              <a:gd name="connsiteX5" fmla="*/ 1755613 w 2366010"/>
              <a:gd name="connsiteY5" fmla="*/ 191773 h 5147306"/>
              <a:gd name="connsiteX6" fmla="*/ 1857213 w 2366010"/>
              <a:gd name="connsiteY6" fmla="*/ 21589 h 5147306"/>
              <a:gd name="connsiteX7" fmla="*/ 2133923 w 2366010"/>
              <a:gd name="connsiteY7" fmla="*/ 15240 h 5147306"/>
              <a:gd name="connsiteX8" fmla="*/ 2366010 w 2366010"/>
              <a:gd name="connsiteY8" fmla="*/ 267643 h 5147306"/>
              <a:gd name="connsiteX9" fmla="*/ 2366010 w 2366010"/>
              <a:gd name="connsiteY9" fmla="*/ 4902519 h 5147306"/>
              <a:gd name="connsiteX10" fmla="*/ 2121223 w 2366010"/>
              <a:gd name="connsiteY10" fmla="*/ 5147306 h 5147306"/>
              <a:gd name="connsiteX11" fmla="*/ 244787 w 2366010"/>
              <a:gd name="connsiteY11" fmla="*/ 5147306 h 5147306"/>
              <a:gd name="connsiteX12" fmla="*/ 0 w 2366010"/>
              <a:gd name="connsiteY12" fmla="*/ 4902519 h 5147306"/>
              <a:gd name="connsiteX13" fmla="*/ 0 w 2366010"/>
              <a:gd name="connsiteY13" fmla="*/ 267643 h 5147306"/>
              <a:gd name="connsiteX0" fmla="*/ 0 w 2366010"/>
              <a:gd name="connsiteY0" fmla="*/ 267643 h 5147306"/>
              <a:gd name="connsiteX1" fmla="*/ 237167 w 2366010"/>
              <a:gd name="connsiteY1" fmla="*/ 20316 h 5147306"/>
              <a:gd name="connsiteX2" fmla="*/ 520700 w 2366010"/>
              <a:gd name="connsiteY2" fmla="*/ 19047 h 5147306"/>
              <a:gd name="connsiteX3" fmla="*/ 727710 w 2366010"/>
              <a:gd name="connsiteY3" fmla="*/ 205736 h 5147306"/>
              <a:gd name="connsiteX4" fmla="*/ 1274918 w 2366010"/>
              <a:gd name="connsiteY4" fmla="*/ 205105 h 5147306"/>
              <a:gd name="connsiteX5" fmla="*/ 1755613 w 2366010"/>
              <a:gd name="connsiteY5" fmla="*/ 191773 h 5147306"/>
              <a:gd name="connsiteX6" fmla="*/ 1857213 w 2366010"/>
              <a:gd name="connsiteY6" fmla="*/ 21589 h 5147306"/>
              <a:gd name="connsiteX7" fmla="*/ 2133923 w 2366010"/>
              <a:gd name="connsiteY7" fmla="*/ 15240 h 5147306"/>
              <a:gd name="connsiteX8" fmla="*/ 2366010 w 2366010"/>
              <a:gd name="connsiteY8" fmla="*/ 267643 h 5147306"/>
              <a:gd name="connsiteX9" fmla="*/ 2366010 w 2366010"/>
              <a:gd name="connsiteY9" fmla="*/ 4902519 h 5147306"/>
              <a:gd name="connsiteX10" fmla="*/ 2121223 w 2366010"/>
              <a:gd name="connsiteY10" fmla="*/ 5147306 h 5147306"/>
              <a:gd name="connsiteX11" fmla="*/ 244787 w 2366010"/>
              <a:gd name="connsiteY11" fmla="*/ 5147306 h 5147306"/>
              <a:gd name="connsiteX12" fmla="*/ 0 w 2366010"/>
              <a:gd name="connsiteY12" fmla="*/ 4902519 h 5147306"/>
              <a:gd name="connsiteX13" fmla="*/ 0 w 2366010"/>
              <a:gd name="connsiteY13" fmla="*/ 267643 h 5147306"/>
              <a:gd name="connsiteX0" fmla="*/ 0 w 2366010"/>
              <a:gd name="connsiteY0" fmla="*/ 267643 h 5147306"/>
              <a:gd name="connsiteX1" fmla="*/ 237167 w 2366010"/>
              <a:gd name="connsiteY1" fmla="*/ 20316 h 5147306"/>
              <a:gd name="connsiteX2" fmla="*/ 520700 w 2366010"/>
              <a:gd name="connsiteY2" fmla="*/ 19047 h 5147306"/>
              <a:gd name="connsiteX3" fmla="*/ 727710 w 2366010"/>
              <a:gd name="connsiteY3" fmla="*/ 205736 h 5147306"/>
              <a:gd name="connsiteX4" fmla="*/ 1274918 w 2366010"/>
              <a:gd name="connsiteY4" fmla="*/ 205105 h 5147306"/>
              <a:gd name="connsiteX5" fmla="*/ 1753708 w 2366010"/>
              <a:gd name="connsiteY5" fmla="*/ 189869 h 5147306"/>
              <a:gd name="connsiteX6" fmla="*/ 1857213 w 2366010"/>
              <a:gd name="connsiteY6" fmla="*/ 21589 h 5147306"/>
              <a:gd name="connsiteX7" fmla="*/ 2133923 w 2366010"/>
              <a:gd name="connsiteY7" fmla="*/ 15240 h 5147306"/>
              <a:gd name="connsiteX8" fmla="*/ 2366010 w 2366010"/>
              <a:gd name="connsiteY8" fmla="*/ 267643 h 5147306"/>
              <a:gd name="connsiteX9" fmla="*/ 2366010 w 2366010"/>
              <a:gd name="connsiteY9" fmla="*/ 4902519 h 5147306"/>
              <a:gd name="connsiteX10" fmla="*/ 2121223 w 2366010"/>
              <a:gd name="connsiteY10" fmla="*/ 5147306 h 5147306"/>
              <a:gd name="connsiteX11" fmla="*/ 244787 w 2366010"/>
              <a:gd name="connsiteY11" fmla="*/ 5147306 h 5147306"/>
              <a:gd name="connsiteX12" fmla="*/ 0 w 2366010"/>
              <a:gd name="connsiteY12" fmla="*/ 4902519 h 5147306"/>
              <a:gd name="connsiteX13" fmla="*/ 0 w 2366010"/>
              <a:gd name="connsiteY13" fmla="*/ 267643 h 5147306"/>
              <a:gd name="connsiteX0" fmla="*/ 0 w 2366010"/>
              <a:gd name="connsiteY0" fmla="*/ 267643 h 5147306"/>
              <a:gd name="connsiteX1" fmla="*/ 237167 w 2366010"/>
              <a:gd name="connsiteY1" fmla="*/ 20316 h 5147306"/>
              <a:gd name="connsiteX2" fmla="*/ 520700 w 2366010"/>
              <a:gd name="connsiteY2" fmla="*/ 19047 h 5147306"/>
              <a:gd name="connsiteX3" fmla="*/ 727710 w 2366010"/>
              <a:gd name="connsiteY3" fmla="*/ 205736 h 5147306"/>
              <a:gd name="connsiteX4" fmla="*/ 1274918 w 2366010"/>
              <a:gd name="connsiteY4" fmla="*/ 205105 h 5147306"/>
              <a:gd name="connsiteX5" fmla="*/ 1753708 w 2366010"/>
              <a:gd name="connsiteY5" fmla="*/ 189869 h 5147306"/>
              <a:gd name="connsiteX6" fmla="*/ 1857213 w 2366010"/>
              <a:gd name="connsiteY6" fmla="*/ 21589 h 5147306"/>
              <a:gd name="connsiteX7" fmla="*/ 2133923 w 2366010"/>
              <a:gd name="connsiteY7" fmla="*/ 15240 h 5147306"/>
              <a:gd name="connsiteX8" fmla="*/ 2366010 w 2366010"/>
              <a:gd name="connsiteY8" fmla="*/ 267643 h 5147306"/>
              <a:gd name="connsiteX9" fmla="*/ 2366010 w 2366010"/>
              <a:gd name="connsiteY9" fmla="*/ 4902519 h 5147306"/>
              <a:gd name="connsiteX10" fmla="*/ 2121223 w 2366010"/>
              <a:gd name="connsiteY10" fmla="*/ 5147306 h 5147306"/>
              <a:gd name="connsiteX11" fmla="*/ 244787 w 2366010"/>
              <a:gd name="connsiteY11" fmla="*/ 5147306 h 5147306"/>
              <a:gd name="connsiteX12" fmla="*/ 0 w 2366010"/>
              <a:gd name="connsiteY12" fmla="*/ 4902519 h 5147306"/>
              <a:gd name="connsiteX13" fmla="*/ 0 w 2366010"/>
              <a:gd name="connsiteY13" fmla="*/ 267643 h 5147306"/>
              <a:gd name="connsiteX0" fmla="*/ 0 w 2366010"/>
              <a:gd name="connsiteY0" fmla="*/ 256648 h 5136311"/>
              <a:gd name="connsiteX1" fmla="*/ 237167 w 2366010"/>
              <a:gd name="connsiteY1" fmla="*/ 9321 h 5136311"/>
              <a:gd name="connsiteX2" fmla="*/ 520700 w 2366010"/>
              <a:gd name="connsiteY2" fmla="*/ 8052 h 5136311"/>
              <a:gd name="connsiteX3" fmla="*/ 727710 w 2366010"/>
              <a:gd name="connsiteY3" fmla="*/ 194741 h 5136311"/>
              <a:gd name="connsiteX4" fmla="*/ 1274918 w 2366010"/>
              <a:gd name="connsiteY4" fmla="*/ 194110 h 5136311"/>
              <a:gd name="connsiteX5" fmla="*/ 1753708 w 2366010"/>
              <a:gd name="connsiteY5" fmla="*/ 178874 h 5136311"/>
              <a:gd name="connsiteX6" fmla="*/ 1857213 w 2366010"/>
              <a:gd name="connsiteY6" fmla="*/ 10594 h 5136311"/>
              <a:gd name="connsiteX7" fmla="*/ 2133923 w 2366010"/>
              <a:gd name="connsiteY7" fmla="*/ 4245 h 5136311"/>
              <a:gd name="connsiteX8" fmla="*/ 2366010 w 2366010"/>
              <a:gd name="connsiteY8" fmla="*/ 256648 h 5136311"/>
              <a:gd name="connsiteX9" fmla="*/ 2366010 w 2366010"/>
              <a:gd name="connsiteY9" fmla="*/ 4891524 h 5136311"/>
              <a:gd name="connsiteX10" fmla="*/ 2121223 w 2366010"/>
              <a:gd name="connsiteY10" fmla="*/ 5136311 h 5136311"/>
              <a:gd name="connsiteX11" fmla="*/ 244787 w 2366010"/>
              <a:gd name="connsiteY11" fmla="*/ 5136311 h 5136311"/>
              <a:gd name="connsiteX12" fmla="*/ 0 w 2366010"/>
              <a:gd name="connsiteY12" fmla="*/ 4891524 h 5136311"/>
              <a:gd name="connsiteX13" fmla="*/ 0 w 2366010"/>
              <a:gd name="connsiteY13" fmla="*/ 256648 h 5136311"/>
              <a:gd name="connsiteX0" fmla="*/ 0 w 2366010"/>
              <a:gd name="connsiteY0" fmla="*/ 256648 h 5136311"/>
              <a:gd name="connsiteX1" fmla="*/ 237167 w 2366010"/>
              <a:gd name="connsiteY1" fmla="*/ 9321 h 5136311"/>
              <a:gd name="connsiteX2" fmla="*/ 520700 w 2366010"/>
              <a:gd name="connsiteY2" fmla="*/ 8052 h 5136311"/>
              <a:gd name="connsiteX3" fmla="*/ 727710 w 2366010"/>
              <a:gd name="connsiteY3" fmla="*/ 194741 h 5136311"/>
              <a:gd name="connsiteX4" fmla="*/ 1274918 w 2366010"/>
              <a:gd name="connsiteY4" fmla="*/ 194110 h 5136311"/>
              <a:gd name="connsiteX5" fmla="*/ 1753708 w 2366010"/>
              <a:gd name="connsiteY5" fmla="*/ 178874 h 5136311"/>
              <a:gd name="connsiteX6" fmla="*/ 1857213 w 2366010"/>
              <a:gd name="connsiteY6" fmla="*/ 10594 h 5136311"/>
              <a:gd name="connsiteX7" fmla="*/ 2133923 w 2366010"/>
              <a:gd name="connsiteY7" fmla="*/ 4245 h 5136311"/>
              <a:gd name="connsiteX8" fmla="*/ 2366010 w 2366010"/>
              <a:gd name="connsiteY8" fmla="*/ 256648 h 5136311"/>
              <a:gd name="connsiteX9" fmla="*/ 2366010 w 2366010"/>
              <a:gd name="connsiteY9" fmla="*/ 4891524 h 5136311"/>
              <a:gd name="connsiteX10" fmla="*/ 2121223 w 2366010"/>
              <a:gd name="connsiteY10" fmla="*/ 5136311 h 5136311"/>
              <a:gd name="connsiteX11" fmla="*/ 244787 w 2366010"/>
              <a:gd name="connsiteY11" fmla="*/ 5136311 h 5136311"/>
              <a:gd name="connsiteX12" fmla="*/ 0 w 2366010"/>
              <a:gd name="connsiteY12" fmla="*/ 4891524 h 5136311"/>
              <a:gd name="connsiteX13" fmla="*/ 0 w 2366010"/>
              <a:gd name="connsiteY13" fmla="*/ 256648 h 5136311"/>
              <a:gd name="connsiteX0" fmla="*/ 0 w 2366010"/>
              <a:gd name="connsiteY0" fmla="*/ 256648 h 5136311"/>
              <a:gd name="connsiteX1" fmla="*/ 237167 w 2366010"/>
              <a:gd name="connsiteY1" fmla="*/ 9321 h 5136311"/>
              <a:gd name="connsiteX2" fmla="*/ 520700 w 2366010"/>
              <a:gd name="connsiteY2" fmla="*/ 8052 h 5136311"/>
              <a:gd name="connsiteX3" fmla="*/ 727710 w 2366010"/>
              <a:gd name="connsiteY3" fmla="*/ 194741 h 5136311"/>
              <a:gd name="connsiteX4" fmla="*/ 1274918 w 2366010"/>
              <a:gd name="connsiteY4" fmla="*/ 194110 h 5136311"/>
              <a:gd name="connsiteX5" fmla="*/ 1753708 w 2366010"/>
              <a:gd name="connsiteY5" fmla="*/ 178874 h 5136311"/>
              <a:gd name="connsiteX6" fmla="*/ 1857213 w 2366010"/>
              <a:gd name="connsiteY6" fmla="*/ 10594 h 5136311"/>
              <a:gd name="connsiteX7" fmla="*/ 2133923 w 2366010"/>
              <a:gd name="connsiteY7" fmla="*/ 4245 h 5136311"/>
              <a:gd name="connsiteX8" fmla="*/ 2366010 w 2366010"/>
              <a:gd name="connsiteY8" fmla="*/ 256648 h 5136311"/>
              <a:gd name="connsiteX9" fmla="*/ 2366010 w 2366010"/>
              <a:gd name="connsiteY9" fmla="*/ 4891524 h 5136311"/>
              <a:gd name="connsiteX10" fmla="*/ 2121223 w 2366010"/>
              <a:gd name="connsiteY10" fmla="*/ 5136311 h 5136311"/>
              <a:gd name="connsiteX11" fmla="*/ 244787 w 2366010"/>
              <a:gd name="connsiteY11" fmla="*/ 5136311 h 5136311"/>
              <a:gd name="connsiteX12" fmla="*/ 0 w 2366010"/>
              <a:gd name="connsiteY12" fmla="*/ 4891524 h 5136311"/>
              <a:gd name="connsiteX13" fmla="*/ 0 w 2366010"/>
              <a:gd name="connsiteY13" fmla="*/ 256648 h 5136311"/>
              <a:gd name="connsiteX0" fmla="*/ 0 w 2366010"/>
              <a:gd name="connsiteY0" fmla="*/ 256648 h 5136311"/>
              <a:gd name="connsiteX1" fmla="*/ 237167 w 2366010"/>
              <a:gd name="connsiteY1" fmla="*/ 9321 h 5136311"/>
              <a:gd name="connsiteX2" fmla="*/ 520700 w 2366010"/>
              <a:gd name="connsiteY2" fmla="*/ 8052 h 5136311"/>
              <a:gd name="connsiteX3" fmla="*/ 727710 w 2366010"/>
              <a:gd name="connsiteY3" fmla="*/ 194741 h 5136311"/>
              <a:gd name="connsiteX4" fmla="*/ 1274918 w 2366010"/>
              <a:gd name="connsiteY4" fmla="*/ 194110 h 5136311"/>
              <a:gd name="connsiteX5" fmla="*/ 1753708 w 2366010"/>
              <a:gd name="connsiteY5" fmla="*/ 178874 h 5136311"/>
              <a:gd name="connsiteX6" fmla="*/ 1857213 w 2366010"/>
              <a:gd name="connsiteY6" fmla="*/ 10594 h 5136311"/>
              <a:gd name="connsiteX7" fmla="*/ 2133923 w 2366010"/>
              <a:gd name="connsiteY7" fmla="*/ 4245 h 5136311"/>
              <a:gd name="connsiteX8" fmla="*/ 2366010 w 2366010"/>
              <a:gd name="connsiteY8" fmla="*/ 256648 h 5136311"/>
              <a:gd name="connsiteX9" fmla="*/ 2366010 w 2366010"/>
              <a:gd name="connsiteY9" fmla="*/ 4891524 h 5136311"/>
              <a:gd name="connsiteX10" fmla="*/ 2121223 w 2366010"/>
              <a:gd name="connsiteY10" fmla="*/ 5136311 h 5136311"/>
              <a:gd name="connsiteX11" fmla="*/ 244787 w 2366010"/>
              <a:gd name="connsiteY11" fmla="*/ 5136311 h 5136311"/>
              <a:gd name="connsiteX12" fmla="*/ 0 w 2366010"/>
              <a:gd name="connsiteY12" fmla="*/ 4891524 h 5136311"/>
              <a:gd name="connsiteX13" fmla="*/ 0 w 2366010"/>
              <a:gd name="connsiteY13" fmla="*/ 256648 h 5136311"/>
              <a:gd name="connsiteX0" fmla="*/ 0 w 2366010"/>
              <a:gd name="connsiteY0" fmla="*/ 258251 h 5137914"/>
              <a:gd name="connsiteX1" fmla="*/ 237167 w 2366010"/>
              <a:gd name="connsiteY1" fmla="*/ 10924 h 5137914"/>
              <a:gd name="connsiteX2" fmla="*/ 518022 w 2366010"/>
              <a:gd name="connsiteY2" fmla="*/ 6979 h 5137914"/>
              <a:gd name="connsiteX3" fmla="*/ 727710 w 2366010"/>
              <a:gd name="connsiteY3" fmla="*/ 196344 h 5137914"/>
              <a:gd name="connsiteX4" fmla="*/ 1274918 w 2366010"/>
              <a:gd name="connsiteY4" fmla="*/ 195713 h 5137914"/>
              <a:gd name="connsiteX5" fmla="*/ 1753708 w 2366010"/>
              <a:gd name="connsiteY5" fmla="*/ 180477 h 5137914"/>
              <a:gd name="connsiteX6" fmla="*/ 1857213 w 2366010"/>
              <a:gd name="connsiteY6" fmla="*/ 12197 h 5137914"/>
              <a:gd name="connsiteX7" fmla="*/ 2133923 w 2366010"/>
              <a:gd name="connsiteY7" fmla="*/ 5848 h 5137914"/>
              <a:gd name="connsiteX8" fmla="*/ 2366010 w 2366010"/>
              <a:gd name="connsiteY8" fmla="*/ 258251 h 5137914"/>
              <a:gd name="connsiteX9" fmla="*/ 2366010 w 2366010"/>
              <a:gd name="connsiteY9" fmla="*/ 4893127 h 5137914"/>
              <a:gd name="connsiteX10" fmla="*/ 2121223 w 2366010"/>
              <a:gd name="connsiteY10" fmla="*/ 5137914 h 5137914"/>
              <a:gd name="connsiteX11" fmla="*/ 244787 w 2366010"/>
              <a:gd name="connsiteY11" fmla="*/ 5137914 h 5137914"/>
              <a:gd name="connsiteX12" fmla="*/ 0 w 2366010"/>
              <a:gd name="connsiteY12" fmla="*/ 4893127 h 5137914"/>
              <a:gd name="connsiteX13" fmla="*/ 0 w 2366010"/>
              <a:gd name="connsiteY13" fmla="*/ 258251 h 5137914"/>
              <a:gd name="connsiteX0" fmla="*/ 0 w 2366010"/>
              <a:gd name="connsiteY0" fmla="*/ 259323 h 5138986"/>
              <a:gd name="connsiteX1" fmla="*/ 234490 w 2366010"/>
              <a:gd name="connsiteY1" fmla="*/ 9320 h 5138986"/>
              <a:gd name="connsiteX2" fmla="*/ 518022 w 2366010"/>
              <a:gd name="connsiteY2" fmla="*/ 8051 h 5138986"/>
              <a:gd name="connsiteX3" fmla="*/ 727710 w 2366010"/>
              <a:gd name="connsiteY3" fmla="*/ 197416 h 5138986"/>
              <a:gd name="connsiteX4" fmla="*/ 1274918 w 2366010"/>
              <a:gd name="connsiteY4" fmla="*/ 196785 h 5138986"/>
              <a:gd name="connsiteX5" fmla="*/ 1753708 w 2366010"/>
              <a:gd name="connsiteY5" fmla="*/ 181549 h 5138986"/>
              <a:gd name="connsiteX6" fmla="*/ 1857213 w 2366010"/>
              <a:gd name="connsiteY6" fmla="*/ 13269 h 5138986"/>
              <a:gd name="connsiteX7" fmla="*/ 2133923 w 2366010"/>
              <a:gd name="connsiteY7" fmla="*/ 6920 h 5138986"/>
              <a:gd name="connsiteX8" fmla="*/ 2366010 w 2366010"/>
              <a:gd name="connsiteY8" fmla="*/ 259323 h 5138986"/>
              <a:gd name="connsiteX9" fmla="*/ 2366010 w 2366010"/>
              <a:gd name="connsiteY9" fmla="*/ 4894199 h 5138986"/>
              <a:gd name="connsiteX10" fmla="*/ 2121223 w 2366010"/>
              <a:gd name="connsiteY10" fmla="*/ 5138986 h 5138986"/>
              <a:gd name="connsiteX11" fmla="*/ 244787 w 2366010"/>
              <a:gd name="connsiteY11" fmla="*/ 5138986 h 5138986"/>
              <a:gd name="connsiteX12" fmla="*/ 0 w 2366010"/>
              <a:gd name="connsiteY12" fmla="*/ 4894199 h 5138986"/>
              <a:gd name="connsiteX13" fmla="*/ 0 w 2366010"/>
              <a:gd name="connsiteY13" fmla="*/ 259323 h 5138986"/>
              <a:gd name="connsiteX0" fmla="*/ 0 w 2366010"/>
              <a:gd name="connsiteY0" fmla="*/ 259323 h 5138986"/>
              <a:gd name="connsiteX1" fmla="*/ 234490 w 2366010"/>
              <a:gd name="connsiteY1" fmla="*/ 9320 h 5138986"/>
              <a:gd name="connsiteX2" fmla="*/ 518022 w 2366010"/>
              <a:gd name="connsiteY2" fmla="*/ 8051 h 5138986"/>
              <a:gd name="connsiteX3" fmla="*/ 727710 w 2366010"/>
              <a:gd name="connsiteY3" fmla="*/ 197416 h 5138986"/>
              <a:gd name="connsiteX4" fmla="*/ 1274918 w 2366010"/>
              <a:gd name="connsiteY4" fmla="*/ 196785 h 5138986"/>
              <a:gd name="connsiteX5" fmla="*/ 1753708 w 2366010"/>
              <a:gd name="connsiteY5" fmla="*/ 181549 h 5138986"/>
              <a:gd name="connsiteX6" fmla="*/ 1857213 w 2366010"/>
              <a:gd name="connsiteY6" fmla="*/ 13269 h 5138986"/>
              <a:gd name="connsiteX7" fmla="*/ 2133923 w 2366010"/>
              <a:gd name="connsiteY7" fmla="*/ 6920 h 5138986"/>
              <a:gd name="connsiteX8" fmla="*/ 2366010 w 2366010"/>
              <a:gd name="connsiteY8" fmla="*/ 259323 h 5138986"/>
              <a:gd name="connsiteX9" fmla="*/ 2366010 w 2366010"/>
              <a:gd name="connsiteY9" fmla="*/ 4894199 h 5138986"/>
              <a:gd name="connsiteX10" fmla="*/ 2121223 w 2366010"/>
              <a:gd name="connsiteY10" fmla="*/ 5138986 h 5138986"/>
              <a:gd name="connsiteX11" fmla="*/ 244787 w 2366010"/>
              <a:gd name="connsiteY11" fmla="*/ 5138986 h 5138986"/>
              <a:gd name="connsiteX12" fmla="*/ 0 w 2366010"/>
              <a:gd name="connsiteY12" fmla="*/ 4894199 h 5138986"/>
              <a:gd name="connsiteX13" fmla="*/ 0 w 2366010"/>
              <a:gd name="connsiteY13" fmla="*/ 259323 h 5138986"/>
              <a:gd name="connsiteX0" fmla="*/ 0 w 2366010"/>
              <a:gd name="connsiteY0" fmla="*/ 259323 h 5138986"/>
              <a:gd name="connsiteX1" fmla="*/ 234490 w 2366010"/>
              <a:gd name="connsiteY1" fmla="*/ 9320 h 5138986"/>
              <a:gd name="connsiteX2" fmla="*/ 518022 w 2366010"/>
              <a:gd name="connsiteY2" fmla="*/ 8051 h 5138986"/>
              <a:gd name="connsiteX3" fmla="*/ 727710 w 2366010"/>
              <a:gd name="connsiteY3" fmla="*/ 197416 h 5138986"/>
              <a:gd name="connsiteX4" fmla="*/ 1274918 w 2366010"/>
              <a:gd name="connsiteY4" fmla="*/ 196785 h 5138986"/>
              <a:gd name="connsiteX5" fmla="*/ 1753708 w 2366010"/>
              <a:gd name="connsiteY5" fmla="*/ 181549 h 5138986"/>
              <a:gd name="connsiteX6" fmla="*/ 1857213 w 2366010"/>
              <a:gd name="connsiteY6" fmla="*/ 13269 h 5138986"/>
              <a:gd name="connsiteX7" fmla="*/ 2133923 w 2366010"/>
              <a:gd name="connsiteY7" fmla="*/ 6920 h 5138986"/>
              <a:gd name="connsiteX8" fmla="*/ 2366010 w 2366010"/>
              <a:gd name="connsiteY8" fmla="*/ 259323 h 5138986"/>
              <a:gd name="connsiteX9" fmla="*/ 2366010 w 2366010"/>
              <a:gd name="connsiteY9" fmla="*/ 4894199 h 5138986"/>
              <a:gd name="connsiteX10" fmla="*/ 2121223 w 2366010"/>
              <a:gd name="connsiteY10" fmla="*/ 5138986 h 5138986"/>
              <a:gd name="connsiteX11" fmla="*/ 244787 w 2366010"/>
              <a:gd name="connsiteY11" fmla="*/ 5138986 h 5138986"/>
              <a:gd name="connsiteX12" fmla="*/ 0 w 2366010"/>
              <a:gd name="connsiteY12" fmla="*/ 4894199 h 5138986"/>
              <a:gd name="connsiteX13" fmla="*/ 0 w 2366010"/>
              <a:gd name="connsiteY13" fmla="*/ 259323 h 5138986"/>
              <a:gd name="connsiteX0" fmla="*/ 0 w 2366010"/>
              <a:gd name="connsiteY0" fmla="*/ 259323 h 5138986"/>
              <a:gd name="connsiteX1" fmla="*/ 234490 w 2366010"/>
              <a:gd name="connsiteY1" fmla="*/ 9320 h 5138986"/>
              <a:gd name="connsiteX2" fmla="*/ 518022 w 2366010"/>
              <a:gd name="connsiteY2" fmla="*/ 8051 h 5138986"/>
              <a:gd name="connsiteX3" fmla="*/ 727710 w 2366010"/>
              <a:gd name="connsiteY3" fmla="*/ 197416 h 5138986"/>
              <a:gd name="connsiteX4" fmla="*/ 1274918 w 2366010"/>
              <a:gd name="connsiteY4" fmla="*/ 196785 h 5138986"/>
              <a:gd name="connsiteX5" fmla="*/ 1748353 w 2366010"/>
              <a:gd name="connsiteY5" fmla="*/ 181549 h 5138986"/>
              <a:gd name="connsiteX6" fmla="*/ 1857213 w 2366010"/>
              <a:gd name="connsiteY6" fmla="*/ 13269 h 5138986"/>
              <a:gd name="connsiteX7" fmla="*/ 2133923 w 2366010"/>
              <a:gd name="connsiteY7" fmla="*/ 6920 h 5138986"/>
              <a:gd name="connsiteX8" fmla="*/ 2366010 w 2366010"/>
              <a:gd name="connsiteY8" fmla="*/ 259323 h 5138986"/>
              <a:gd name="connsiteX9" fmla="*/ 2366010 w 2366010"/>
              <a:gd name="connsiteY9" fmla="*/ 4894199 h 5138986"/>
              <a:gd name="connsiteX10" fmla="*/ 2121223 w 2366010"/>
              <a:gd name="connsiteY10" fmla="*/ 5138986 h 5138986"/>
              <a:gd name="connsiteX11" fmla="*/ 244787 w 2366010"/>
              <a:gd name="connsiteY11" fmla="*/ 5138986 h 5138986"/>
              <a:gd name="connsiteX12" fmla="*/ 0 w 2366010"/>
              <a:gd name="connsiteY12" fmla="*/ 4894199 h 5138986"/>
              <a:gd name="connsiteX13" fmla="*/ 0 w 2366010"/>
              <a:gd name="connsiteY13" fmla="*/ 259323 h 5138986"/>
              <a:gd name="connsiteX0" fmla="*/ 0 w 2366010"/>
              <a:gd name="connsiteY0" fmla="*/ 259323 h 5138986"/>
              <a:gd name="connsiteX1" fmla="*/ 234490 w 2366010"/>
              <a:gd name="connsiteY1" fmla="*/ 9320 h 5138986"/>
              <a:gd name="connsiteX2" fmla="*/ 518022 w 2366010"/>
              <a:gd name="connsiteY2" fmla="*/ 8051 h 5138986"/>
              <a:gd name="connsiteX3" fmla="*/ 727710 w 2366010"/>
              <a:gd name="connsiteY3" fmla="*/ 197416 h 5138986"/>
              <a:gd name="connsiteX4" fmla="*/ 1274918 w 2366010"/>
              <a:gd name="connsiteY4" fmla="*/ 196785 h 5138986"/>
              <a:gd name="connsiteX5" fmla="*/ 1748353 w 2366010"/>
              <a:gd name="connsiteY5" fmla="*/ 181549 h 5138986"/>
              <a:gd name="connsiteX6" fmla="*/ 1857213 w 2366010"/>
              <a:gd name="connsiteY6" fmla="*/ 13269 h 5138986"/>
              <a:gd name="connsiteX7" fmla="*/ 2133923 w 2366010"/>
              <a:gd name="connsiteY7" fmla="*/ 6920 h 5138986"/>
              <a:gd name="connsiteX8" fmla="*/ 2366010 w 2366010"/>
              <a:gd name="connsiteY8" fmla="*/ 259323 h 5138986"/>
              <a:gd name="connsiteX9" fmla="*/ 2366010 w 2366010"/>
              <a:gd name="connsiteY9" fmla="*/ 4894199 h 5138986"/>
              <a:gd name="connsiteX10" fmla="*/ 2121223 w 2366010"/>
              <a:gd name="connsiteY10" fmla="*/ 5138986 h 5138986"/>
              <a:gd name="connsiteX11" fmla="*/ 244787 w 2366010"/>
              <a:gd name="connsiteY11" fmla="*/ 5138986 h 5138986"/>
              <a:gd name="connsiteX12" fmla="*/ 0 w 2366010"/>
              <a:gd name="connsiteY12" fmla="*/ 4894199 h 5138986"/>
              <a:gd name="connsiteX13" fmla="*/ 0 w 2366010"/>
              <a:gd name="connsiteY13" fmla="*/ 259323 h 5138986"/>
              <a:gd name="connsiteX0" fmla="*/ 0 w 2366010"/>
              <a:gd name="connsiteY0" fmla="*/ 259323 h 5138986"/>
              <a:gd name="connsiteX1" fmla="*/ 234490 w 2366010"/>
              <a:gd name="connsiteY1" fmla="*/ 9320 h 5138986"/>
              <a:gd name="connsiteX2" fmla="*/ 518022 w 2366010"/>
              <a:gd name="connsiteY2" fmla="*/ 8051 h 5138986"/>
              <a:gd name="connsiteX3" fmla="*/ 727710 w 2366010"/>
              <a:gd name="connsiteY3" fmla="*/ 197416 h 5138986"/>
              <a:gd name="connsiteX4" fmla="*/ 1274918 w 2366010"/>
              <a:gd name="connsiteY4" fmla="*/ 196785 h 5138986"/>
              <a:gd name="connsiteX5" fmla="*/ 1748353 w 2366010"/>
              <a:gd name="connsiteY5" fmla="*/ 181549 h 5138986"/>
              <a:gd name="connsiteX6" fmla="*/ 1857213 w 2366010"/>
              <a:gd name="connsiteY6" fmla="*/ 13269 h 5138986"/>
              <a:gd name="connsiteX7" fmla="*/ 2133923 w 2366010"/>
              <a:gd name="connsiteY7" fmla="*/ 6920 h 5138986"/>
              <a:gd name="connsiteX8" fmla="*/ 2366010 w 2366010"/>
              <a:gd name="connsiteY8" fmla="*/ 259323 h 5138986"/>
              <a:gd name="connsiteX9" fmla="*/ 2366010 w 2366010"/>
              <a:gd name="connsiteY9" fmla="*/ 4894199 h 5138986"/>
              <a:gd name="connsiteX10" fmla="*/ 2121223 w 2366010"/>
              <a:gd name="connsiteY10" fmla="*/ 5138986 h 5138986"/>
              <a:gd name="connsiteX11" fmla="*/ 244787 w 2366010"/>
              <a:gd name="connsiteY11" fmla="*/ 5138986 h 5138986"/>
              <a:gd name="connsiteX12" fmla="*/ 0 w 2366010"/>
              <a:gd name="connsiteY12" fmla="*/ 4894199 h 5138986"/>
              <a:gd name="connsiteX13" fmla="*/ 0 w 2366010"/>
              <a:gd name="connsiteY13" fmla="*/ 259323 h 5138986"/>
              <a:gd name="connsiteX0" fmla="*/ 0 w 2366010"/>
              <a:gd name="connsiteY0" fmla="*/ 259323 h 5138986"/>
              <a:gd name="connsiteX1" fmla="*/ 234490 w 2366010"/>
              <a:gd name="connsiteY1" fmla="*/ 9320 h 5138986"/>
              <a:gd name="connsiteX2" fmla="*/ 518022 w 2366010"/>
              <a:gd name="connsiteY2" fmla="*/ 8051 h 5138986"/>
              <a:gd name="connsiteX3" fmla="*/ 727710 w 2366010"/>
              <a:gd name="connsiteY3" fmla="*/ 197416 h 5138986"/>
              <a:gd name="connsiteX4" fmla="*/ 1274918 w 2366010"/>
              <a:gd name="connsiteY4" fmla="*/ 196785 h 5138986"/>
              <a:gd name="connsiteX5" fmla="*/ 1748353 w 2366010"/>
              <a:gd name="connsiteY5" fmla="*/ 181549 h 5138986"/>
              <a:gd name="connsiteX6" fmla="*/ 1857213 w 2366010"/>
              <a:gd name="connsiteY6" fmla="*/ 13269 h 5138986"/>
              <a:gd name="connsiteX7" fmla="*/ 2133923 w 2366010"/>
              <a:gd name="connsiteY7" fmla="*/ 6920 h 5138986"/>
              <a:gd name="connsiteX8" fmla="*/ 2366010 w 2366010"/>
              <a:gd name="connsiteY8" fmla="*/ 259323 h 5138986"/>
              <a:gd name="connsiteX9" fmla="*/ 2366010 w 2366010"/>
              <a:gd name="connsiteY9" fmla="*/ 4894199 h 5138986"/>
              <a:gd name="connsiteX10" fmla="*/ 2121223 w 2366010"/>
              <a:gd name="connsiteY10" fmla="*/ 5138986 h 5138986"/>
              <a:gd name="connsiteX11" fmla="*/ 244787 w 2366010"/>
              <a:gd name="connsiteY11" fmla="*/ 5138986 h 5138986"/>
              <a:gd name="connsiteX12" fmla="*/ 0 w 2366010"/>
              <a:gd name="connsiteY12" fmla="*/ 4894199 h 5138986"/>
              <a:gd name="connsiteX13" fmla="*/ 0 w 2366010"/>
              <a:gd name="connsiteY13" fmla="*/ 259323 h 5138986"/>
              <a:gd name="connsiteX0" fmla="*/ 0 w 2366010"/>
              <a:gd name="connsiteY0" fmla="*/ 259323 h 5138986"/>
              <a:gd name="connsiteX1" fmla="*/ 234490 w 2366010"/>
              <a:gd name="connsiteY1" fmla="*/ 9320 h 5138986"/>
              <a:gd name="connsiteX2" fmla="*/ 518022 w 2366010"/>
              <a:gd name="connsiteY2" fmla="*/ 8051 h 5138986"/>
              <a:gd name="connsiteX3" fmla="*/ 727710 w 2366010"/>
              <a:gd name="connsiteY3" fmla="*/ 197416 h 5138986"/>
              <a:gd name="connsiteX4" fmla="*/ 1274918 w 2366010"/>
              <a:gd name="connsiteY4" fmla="*/ 196785 h 5138986"/>
              <a:gd name="connsiteX5" fmla="*/ 1748353 w 2366010"/>
              <a:gd name="connsiteY5" fmla="*/ 181549 h 5138986"/>
              <a:gd name="connsiteX6" fmla="*/ 1857213 w 2366010"/>
              <a:gd name="connsiteY6" fmla="*/ 13269 h 5138986"/>
              <a:gd name="connsiteX7" fmla="*/ 2133923 w 2366010"/>
              <a:gd name="connsiteY7" fmla="*/ 6920 h 5138986"/>
              <a:gd name="connsiteX8" fmla="*/ 2366010 w 2366010"/>
              <a:gd name="connsiteY8" fmla="*/ 259323 h 5138986"/>
              <a:gd name="connsiteX9" fmla="*/ 2366010 w 2366010"/>
              <a:gd name="connsiteY9" fmla="*/ 4894199 h 5138986"/>
              <a:gd name="connsiteX10" fmla="*/ 2121223 w 2366010"/>
              <a:gd name="connsiteY10" fmla="*/ 5138986 h 5138986"/>
              <a:gd name="connsiteX11" fmla="*/ 244787 w 2366010"/>
              <a:gd name="connsiteY11" fmla="*/ 5138986 h 5138986"/>
              <a:gd name="connsiteX12" fmla="*/ 0 w 2366010"/>
              <a:gd name="connsiteY12" fmla="*/ 4894199 h 5138986"/>
              <a:gd name="connsiteX13" fmla="*/ 0 w 2366010"/>
              <a:gd name="connsiteY13" fmla="*/ 259323 h 5138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366010" h="5138986">
                <a:moveTo>
                  <a:pt x="0" y="259323"/>
                </a:moveTo>
                <a:cubicBezTo>
                  <a:pt x="0" y="124131"/>
                  <a:pt x="99298" y="14400"/>
                  <a:pt x="234490" y="9320"/>
                </a:cubicBezTo>
                <a:cubicBezTo>
                  <a:pt x="330375" y="-1633"/>
                  <a:pt x="441345" y="-4014"/>
                  <a:pt x="518022" y="8051"/>
                </a:cubicBezTo>
                <a:cubicBezTo>
                  <a:pt x="568029" y="42976"/>
                  <a:pt x="608553" y="191263"/>
                  <a:pt x="727710" y="197416"/>
                </a:cubicBezTo>
                <a:cubicBezTo>
                  <a:pt x="883276" y="205449"/>
                  <a:pt x="1056621" y="196753"/>
                  <a:pt x="1274918" y="196785"/>
                </a:cubicBezTo>
                <a:cubicBezTo>
                  <a:pt x="1493215" y="196817"/>
                  <a:pt x="1691464" y="206784"/>
                  <a:pt x="1748353" y="181549"/>
                </a:cubicBezTo>
                <a:cubicBezTo>
                  <a:pt x="1805242" y="156314"/>
                  <a:pt x="1797125" y="40150"/>
                  <a:pt x="1857213" y="13269"/>
                </a:cubicBezTo>
                <a:cubicBezTo>
                  <a:pt x="1896981" y="1626"/>
                  <a:pt x="2008907" y="3363"/>
                  <a:pt x="2133923" y="6920"/>
                </a:cubicBezTo>
                <a:cubicBezTo>
                  <a:pt x="2258939" y="10477"/>
                  <a:pt x="2366010" y="124131"/>
                  <a:pt x="2366010" y="259323"/>
                </a:cubicBezTo>
                <a:lnTo>
                  <a:pt x="2366010" y="4894199"/>
                </a:lnTo>
                <a:cubicBezTo>
                  <a:pt x="2366010" y="5029391"/>
                  <a:pt x="2256415" y="5138986"/>
                  <a:pt x="2121223" y="5138986"/>
                </a:cubicBezTo>
                <a:lnTo>
                  <a:pt x="244787" y="5138986"/>
                </a:lnTo>
                <a:cubicBezTo>
                  <a:pt x="109595" y="5138986"/>
                  <a:pt x="0" y="5029391"/>
                  <a:pt x="0" y="4894199"/>
                </a:cubicBezTo>
                <a:lnTo>
                  <a:pt x="0" y="259323"/>
                </a:lnTo>
                <a:close/>
              </a:path>
            </a:pathLst>
          </a:custGeom>
          <a:solidFill>
            <a:schemeClr val="tx1"/>
          </a:solidFill>
        </p:spPr>
        <p:txBody>
          <a:bodyPr lIns="252000" tIns="360000" bIns="90000" anchor="t">
            <a:normAutofit/>
          </a:bodyPr>
          <a:lstStyle>
            <a:lvl1pPr marL="0" indent="0" algn="l">
              <a:buNone/>
              <a:defRPr lang="fr-FR" sz="2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Click </a:t>
            </a:r>
            <a:br>
              <a:rPr lang="fr-FR"/>
            </a:br>
            <a:r>
              <a:rPr lang="fr-FR"/>
              <a:t>to </a:t>
            </a:r>
            <a:r>
              <a:rPr lang="fr-FR" err="1"/>
              <a:t>add</a:t>
            </a:r>
            <a:r>
              <a:rPr lang="fr-FR"/>
              <a:t> </a:t>
            </a:r>
            <a:br>
              <a:rPr lang="fr-FR"/>
            </a:br>
            <a:r>
              <a:rPr lang="fr-FR"/>
              <a:t>a </a:t>
            </a:r>
            <a:r>
              <a:rPr lang="fr-FR" err="1"/>
              <a:t>picture</a:t>
            </a:r>
            <a:endParaRPr lang="fr-FR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EBDD18AD-67A7-FC43-94A2-0E86A0AE957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57200" y="1557838"/>
            <a:ext cx="3007271" cy="4385760"/>
          </a:xfrm>
        </p:spPr>
        <p:txBody>
          <a:bodyPr anchor="ctr" anchorCtr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D4681DC-9242-7242-A0BC-17A9CC783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3007271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4937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bg>
      <p:bgPr>
        <a:pattFill prst="smGrid">
          <a:fgClr>
            <a:schemeClr val="accent5">
              <a:lumMod val="60000"/>
              <a:lumOff val="40000"/>
            </a:schemeClr>
          </a:fgClr>
          <a:bgClr>
            <a:schemeClr val="accent5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91E8529-E78B-4847-BADF-90BBB2A5AB6B}"/>
              </a:ext>
            </a:extLst>
          </p:cNvPr>
          <p:cNvSpPr/>
          <p:nvPr userDrawn="1"/>
        </p:nvSpPr>
        <p:spPr>
          <a:xfrm>
            <a:off x="0" y="1"/>
            <a:ext cx="12192000" cy="35432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F409DF4-607B-9B4E-B219-356914487941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10368364" y="265176"/>
            <a:ext cx="1366435" cy="1585047"/>
          </a:xfrm>
        </p:spPr>
        <p:txBody>
          <a:bodyPr wrap="square" lIns="0" tIns="0" rIns="0" bIns="2286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1500" spc="-3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3200">
                <a:solidFill>
                  <a:srgbClr val="C00000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text</a:t>
            </a:r>
            <a:br>
              <a:rPr lang="en-US"/>
            </a:br>
            <a:r>
              <a:rPr lang="en-US"/>
              <a:t>tex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C3AEAD7-01AC-D048-AEF2-E4A14CC3760C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6108192" y="265176"/>
            <a:ext cx="4215384" cy="1585047"/>
          </a:xfrm>
        </p:spPr>
        <p:txBody>
          <a:bodyPr wrap="square" rIns="228600" bIns="182880" anchor="ctr" anchorCtr="0">
            <a:noAutofit/>
          </a:bodyPr>
          <a:lstStyle>
            <a:lvl1pPr algn="r">
              <a:defRPr sz="11500" b="0" i="0" spc="-300">
                <a:solidFill>
                  <a:srgbClr val="C00000"/>
                </a:solidFill>
                <a:latin typeface="Franklin Gothic Medium Cond" panose="020B06060304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3D7C8F-5434-3345-A68B-B48F2F6E3D8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7199" y="265176"/>
            <a:ext cx="5606205" cy="1815882"/>
          </a:xfrm>
        </p:spPr>
        <p:txBody>
          <a:bodyPr wrap="square" bIns="45720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5400" b="0" i="0" spc="0">
                <a:solidFill>
                  <a:schemeClr val="accent1"/>
                </a:solidFill>
                <a:latin typeface="Franklin Gothic Medium Cond" panose="020B0606030402020204" pitchFamily="34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2400" cap="all" spc="200" baseline="0"/>
            </a:lvl2pPr>
            <a:lvl3pPr marL="228600" indent="0">
              <a:buNone/>
              <a:defRPr/>
            </a:lvl3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2312887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E471769-75EF-7648-80D9-D766AEE7F9D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10368364" y="265176"/>
            <a:ext cx="1366435" cy="1585047"/>
          </a:xfrm>
        </p:spPr>
        <p:txBody>
          <a:bodyPr wrap="square" lIns="0" tIns="0" rIns="0" bIns="2286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1500" spc="-3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text</a:t>
            </a:r>
            <a:br>
              <a:rPr lang="en-US"/>
            </a:br>
            <a:r>
              <a:rPr lang="en-US"/>
              <a:t>text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E4A61FC-EBF6-5548-98F0-B0E1EB4340F2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6108192" y="265176"/>
            <a:ext cx="4215384" cy="1585047"/>
          </a:xfrm>
        </p:spPr>
        <p:txBody>
          <a:bodyPr wrap="square" rIns="228600" bIns="182880" anchor="ctr" anchorCtr="0">
            <a:noAutofit/>
          </a:bodyPr>
          <a:lstStyle>
            <a:lvl1pPr algn="r">
              <a:defRPr sz="11500" b="0" i="0" spc="-300">
                <a:solidFill>
                  <a:schemeClr val="bg1"/>
                </a:solidFill>
                <a:latin typeface="Franklin Gothic Medium Cond" panose="020B06060304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8498735-3B0D-5E4A-B1DF-EAF758CBF38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7199" y="265176"/>
            <a:ext cx="5606205" cy="1815882"/>
          </a:xfrm>
        </p:spPr>
        <p:txBody>
          <a:bodyPr wrap="square" bIns="45720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5400" b="0" i="0" spc="0">
                <a:solidFill>
                  <a:schemeClr val="accent1"/>
                </a:solidFill>
                <a:latin typeface="Franklin Gothic Medium Cond" panose="020B0606030402020204" pitchFamily="34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2400" cap="all" spc="200" baseline="0">
                <a:solidFill>
                  <a:schemeClr val="bg1"/>
                </a:solidFill>
              </a:defRPr>
            </a:lvl2pPr>
            <a:lvl3pPr marL="228600" indent="0">
              <a:buNone/>
              <a:defRPr/>
            </a:lvl3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7709146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73D59D1-829E-3144-B8CF-C5329C971F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199" y="3587672"/>
            <a:ext cx="5524497" cy="2816352"/>
          </a:xfrm>
          <a:noFill/>
          <a:ln w="19050">
            <a:solidFill>
              <a:schemeClr val="accent1"/>
            </a:solidFill>
          </a:ln>
        </p:spPr>
        <p:txBody>
          <a:bodyPr lIns="182880" tIns="411480" rIns="182880" bIns="118872" anchor="ctr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F2418F6-5503-5643-B481-6E41875C27D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10298" y="4365392"/>
            <a:ext cx="5524502" cy="2035408"/>
          </a:xfrm>
          <a:noFill/>
          <a:ln w="19050">
            <a:solidFill>
              <a:schemeClr val="accent1"/>
            </a:solidFill>
          </a:ln>
        </p:spPr>
        <p:txBody>
          <a:bodyPr lIns="182880" tIns="411480" rIns="182880" bIns="118872" anchor="ctr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2BF6701-7641-6A4D-ADE8-94A0DAAEB27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10296" y="2045863"/>
            <a:ext cx="5524502" cy="2069735"/>
          </a:xfrm>
          <a:noFill/>
          <a:ln w="19050">
            <a:solidFill>
              <a:schemeClr val="accent1"/>
            </a:solidFill>
          </a:ln>
        </p:spPr>
        <p:txBody>
          <a:bodyPr lIns="182880" tIns="411480" rIns="182880" bIns="118872" anchor="ctr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954DAA7-BFB4-9642-8A87-1EB79086B4A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7199" y="2004115"/>
            <a:ext cx="3886196" cy="1339716"/>
          </a:xfrm>
          <a:noFill/>
          <a:ln w="19050">
            <a:solidFill>
              <a:schemeClr val="accent1"/>
            </a:solidFill>
          </a:ln>
        </p:spPr>
        <p:txBody>
          <a:bodyPr lIns="182880" tIns="411480" rIns="182880" bIns="118872" anchor="ctr" anchorCtr="0">
            <a:noAutofit/>
          </a:bodyPr>
          <a:lstStyle>
            <a:lvl1pPr>
              <a:defRPr sz="4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2658780-6CBC-E242-BD5D-670803E5992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71989" y="2004115"/>
            <a:ext cx="1409706" cy="1339716"/>
          </a:xfrm>
          <a:noFill/>
          <a:ln w="19050">
            <a:solidFill>
              <a:schemeClr val="accent1"/>
            </a:solidFill>
          </a:ln>
        </p:spPr>
        <p:txBody>
          <a:bodyPr lIns="182880" tIns="411480" rIns="182880" bIns="118872"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algn="ctr"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" name="Text Placeholder 67">
            <a:extLst>
              <a:ext uri="{FF2B5EF4-FFF2-40B4-BE49-F238E27FC236}">
                <a16:creationId xmlns:a16="http://schemas.microsoft.com/office/drawing/2014/main" id="{7EDBE9EC-8674-7F44-9B9D-75B224AB9CD3}"/>
              </a:ext>
            </a:extLst>
          </p:cNvPr>
          <p:cNvSpPr txBox="1">
            <a:spLocks/>
          </p:cNvSpPr>
          <p:nvPr userDrawn="1"/>
        </p:nvSpPr>
        <p:spPr>
          <a:xfrm>
            <a:off x="457200" y="2004115"/>
            <a:ext cx="1545338" cy="40011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spAutoFit/>
          </a:bodyPr>
          <a:lstStyle>
            <a:lvl1pPr marL="0" indent="0" algn="r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>
                  <a:lumMod val="75000"/>
                </a:schemeClr>
              </a:buClr>
              <a:buSzPct val="85000"/>
              <a:buFont typeface="Helvetica" charset="0"/>
              <a:buNone/>
              <a:defRPr sz="2000" b="0" i="0" kern="1200" cap="all" spc="20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85000"/>
              <a:buFont typeface="Helvetica" charset="0"/>
              <a:buChar char="⁃"/>
              <a:defRPr sz="2400" b="0" i="0" kern="1200" spc="1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6858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85000"/>
              <a:buFont typeface="Helvetica" charset="0"/>
              <a:buChar char="•"/>
              <a:defRPr sz="2000" b="0" i="0" kern="1200" spc="100" baseline="0">
                <a:solidFill>
                  <a:schemeClr val="tx1">
                    <a:lumMod val="7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9144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85000"/>
              <a:buFont typeface="Helvetica" charset="0"/>
              <a:buChar char="⁃"/>
              <a:defRPr sz="1800" b="0" i="0" kern="1200" spc="100" baseline="0">
                <a:solidFill>
                  <a:schemeClr val="tx1">
                    <a:lumMod val="75000"/>
                  </a:schemeClr>
                </a:solidFill>
                <a:latin typeface="+mn-lt"/>
                <a:ea typeface="Arial" charset="0"/>
                <a:cs typeface="Arial" charset="0"/>
              </a:defRPr>
            </a:lvl4pPr>
            <a:lvl5pPr marL="11430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85000"/>
              <a:buFont typeface="Helvetica" charset="0"/>
              <a:buChar char="•"/>
              <a:defRPr sz="1600" b="0" i="0" kern="1200" spc="100" baseline="0">
                <a:solidFill>
                  <a:schemeClr val="tx1">
                    <a:lumMod val="75000"/>
                  </a:schemeClr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000" baseline="0">
                <a:solidFill>
                  <a:schemeClr val="bg1"/>
                </a:solidFill>
                <a:highlight>
                  <a:srgbClr val="000000"/>
                </a:highlight>
              </a:rPr>
              <a:t>Location</a:t>
            </a:r>
          </a:p>
        </p:txBody>
      </p:sp>
      <p:sp>
        <p:nvSpPr>
          <p:cNvPr id="9" name="Text Placeholder 68">
            <a:extLst>
              <a:ext uri="{FF2B5EF4-FFF2-40B4-BE49-F238E27FC236}">
                <a16:creationId xmlns:a16="http://schemas.microsoft.com/office/drawing/2014/main" id="{D5E379AE-023F-7D49-860D-DA41D4247684}"/>
              </a:ext>
            </a:extLst>
          </p:cNvPr>
          <p:cNvSpPr txBox="1">
            <a:spLocks/>
          </p:cNvSpPr>
          <p:nvPr userDrawn="1"/>
        </p:nvSpPr>
        <p:spPr>
          <a:xfrm>
            <a:off x="457200" y="3572283"/>
            <a:ext cx="1051562" cy="40011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sp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>
                  <a:lumMod val="75000"/>
                </a:schemeClr>
              </a:buClr>
              <a:buSzPct val="85000"/>
              <a:buFont typeface="Helvetica" charset="0"/>
              <a:buNone/>
              <a:defRPr sz="2000" b="0" i="0" kern="1200" cap="all" spc="20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85000"/>
              <a:buFont typeface="Helvetica" charset="0"/>
              <a:buChar char="⁃"/>
              <a:defRPr sz="2400" b="0" i="0" kern="1200" spc="1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6858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85000"/>
              <a:buFont typeface="Helvetica" charset="0"/>
              <a:buChar char="•"/>
              <a:defRPr sz="2000" b="0" i="0" kern="1200" spc="100" baseline="0">
                <a:solidFill>
                  <a:schemeClr val="tx1">
                    <a:lumMod val="7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9144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85000"/>
              <a:buFont typeface="Helvetica" charset="0"/>
              <a:buChar char="⁃"/>
              <a:defRPr sz="1800" b="0" i="0" kern="1200" spc="100" baseline="0">
                <a:solidFill>
                  <a:schemeClr val="tx1">
                    <a:lumMod val="75000"/>
                  </a:schemeClr>
                </a:solidFill>
                <a:latin typeface="+mn-lt"/>
                <a:ea typeface="Arial" charset="0"/>
                <a:cs typeface="Arial" charset="0"/>
              </a:defRPr>
            </a:lvl4pPr>
            <a:lvl5pPr marL="11430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85000"/>
              <a:buFont typeface="Helvetica" charset="0"/>
              <a:buChar char="•"/>
              <a:defRPr sz="1600" b="0" i="0" kern="1200" spc="100" baseline="0">
                <a:solidFill>
                  <a:schemeClr val="tx1">
                    <a:lumMod val="75000"/>
                  </a:schemeClr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aseline="0">
                <a:solidFill>
                  <a:schemeClr val="bg1"/>
                </a:solidFill>
                <a:highlight>
                  <a:srgbClr val="000000"/>
                </a:highlight>
              </a:rPr>
              <a:t>Tasks</a:t>
            </a:r>
          </a:p>
        </p:txBody>
      </p:sp>
      <p:sp>
        <p:nvSpPr>
          <p:cNvPr id="10" name="Text Placeholder 70">
            <a:extLst>
              <a:ext uri="{FF2B5EF4-FFF2-40B4-BE49-F238E27FC236}">
                <a16:creationId xmlns:a16="http://schemas.microsoft.com/office/drawing/2014/main" id="{DA938409-9399-6742-B13C-99D503D1D409}"/>
              </a:ext>
            </a:extLst>
          </p:cNvPr>
          <p:cNvSpPr txBox="1">
            <a:spLocks/>
          </p:cNvSpPr>
          <p:nvPr userDrawn="1"/>
        </p:nvSpPr>
        <p:spPr>
          <a:xfrm>
            <a:off x="6210302" y="2030475"/>
            <a:ext cx="2631948" cy="40011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sp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>
                  <a:lumMod val="75000"/>
                </a:schemeClr>
              </a:buClr>
              <a:buSzPct val="85000"/>
              <a:buFont typeface="Helvetica" charset="0"/>
              <a:buNone/>
              <a:defRPr sz="2000" b="0" i="0" kern="1200" cap="all" spc="20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85000"/>
              <a:buFont typeface="Helvetica" charset="0"/>
              <a:buChar char="⁃"/>
              <a:defRPr sz="2400" b="0" i="0" kern="1200" spc="1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6858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85000"/>
              <a:buFont typeface="Helvetica" charset="0"/>
              <a:buChar char="•"/>
              <a:defRPr sz="2000" b="0" i="0" kern="1200" spc="100" baseline="0">
                <a:solidFill>
                  <a:schemeClr val="tx1">
                    <a:lumMod val="7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9144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85000"/>
              <a:buFont typeface="Helvetica" charset="0"/>
              <a:buChar char="⁃"/>
              <a:defRPr sz="1800" b="0" i="0" kern="1200" spc="100" baseline="0">
                <a:solidFill>
                  <a:schemeClr val="tx1">
                    <a:lumMod val="75000"/>
                  </a:schemeClr>
                </a:solidFill>
                <a:latin typeface="+mn-lt"/>
                <a:ea typeface="Arial" charset="0"/>
                <a:cs typeface="Arial" charset="0"/>
              </a:defRPr>
            </a:lvl4pPr>
            <a:lvl5pPr marL="11430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85000"/>
              <a:buFont typeface="Helvetica" charset="0"/>
              <a:buChar char="•"/>
              <a:defRPr sz="1600" b="0" i="0" kern="1200" spc="100" baseline="0">
                <a:solidFill>
                  <a:schemeClr val="tx1">
                    <a:lumMod val="75000"/>
                  </a:schemeClr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aseline="0">
                <a:solidFill>
                  <a:schemeClr val="bg1"/>
                </a:solidFill>
                <a:highlight>
                  <a:srgbClr val="000000"/>
                </a:highlight>
              </a:rPr>
              <a:t>Project Details</a:t>
            </a:r>
          </a:p>
        </p:txBody>
      </p:sp>
      <p:sp>
        <p:nvSpPr>
          <p:cNvPr id="11" name="Text Placeholder 72">
            <a:extLst>
              <a:ext uri="{FF2B5EF4-FFF2-40B4-BE49-F238E27FC236}">
                <a16:creationId xmlns:a16="http://schemas.microsoft.com/office/drawing/2014/main" id="{03C6CEB6-0470-F84F-A762-F92C5B96E31F}"/>
              </a:ext>
            </a:extLst>
          </p:cNvPr>
          <p:cNvSpPr txBox="1">
            <a:spLocks/>
          </p:cNvSpPr>
          <p:nvPr userDrawn="1"/>
        </p:nvSpPr>
        <p:spPr>
          <a:xfrm>
            <a:off x="6210300" y="4350003"/>
            <a:ext cx="2933702" cy="40011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sp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>
                  <a:lumMod val="75000"/>
                </a:schemeClr>
              </a:buClr>
              <a:buSzPct val="85000"/>
              <a:buFont typeface="Helvetica" charset="0"/>
              <a:buNone/>
              <a:defRPr sz="2000" b="0" i="0" kern="1200" cap="all" spc="20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85000"/>
              <a:buFont typeface="Helvetica" charset="0"/>
              <a:buChar char="⁃"/>
              <a:defRPr sz="2400" b="0" i="0" kern="1200" spc="1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6858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85000"/>
              <a:buFont typeface="Helvetica" charset="0"/>
              <a:buChar char="•"/>
              <a:defRPr sz="2000" b="0" i="0" kern="1200" spc="100" baseline="0">
                <a:solidFill>
                  <a:schemeClr val="tx1">
                    <a:lumMod val="7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9144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85000"/>
              <a:buFont typeface="Helvetica" charset="0"/>
              <a:buChar char="⁃"/>
              <a:defRPr sz="1800" b="0" i="0" kern="1200" spc="100" baseline="0">
                <a:solidFill>
                  <a:schemeClr val="tx1">
                    <a:lumMod val="75000"/>
                  </a:schemeClr>
                </a:solidFill>
                <a:latin typeface="+mn-lt"/>
                <a:ea typeface="Arial" charset="0"/>
                <a:cs typeface="Arial" charset="0"/>
              </a:defRPr>
            </a:lvl4pPr>
            <a:lvl5pPr marL="11430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85000"/>
              <a:buFont typeface="Helvetica" charset="0"/>
              <a:buChar char="•"/>
              <a:defRPr sz="1600" b="0" i="0" kern="1200" spc="100" baseline="0">
                <a:solidFill>
                  <a:schemeClr val="tx1">
                    <a:lumMod val="75000"/>
                  </a:schemeClr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aseline="0">
                <a:solidFill>
                  <a:schemeClr val="bg1"/>
                </a:solidFill>
                <a:highlight>
                  <a:srgbClr val="000000"/>
                </a:highlight>
              </a:rPr>
              <a:t>Project Features</a:t>
            </a:r>
          </a:p>
        </p:txBody>
      </p:sp>
      <p:sp>
        <p:nvSpPr>
          <p:cNvPr id="13" name="Text Placeholder 67">
            <a:extLst>
              <a:ext uri="{FF2B5EF4-FFF2-40B4-BE49-F238E27FC236}">
                <a16:creationId xmlns:a16="http://schemas.microsoft.com/office/drawing/2014/main" id="{FE326638-1B76-B74D-8323-28CA866366E3}"/>
              </a:ext>
            </a:extLst>
          </p:cNvPr>
          <p:cNvSpPr txBox="1">
            <a:spLocks/>
          </p:cNvSpPr>
          <p:nvPr userDrawn="1"/>
        </p:nvSpPr>
        <p:spPr>
          <a:xfrm>
            <a:off x="4572000" y="2004115"/>
            <a:ext cx="1409702" cy="40011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0">
            <a:spAutoFit/>
          </a:bodyPr>
          <a:lstStyle>
            <a:lvl1pPr marL="0" indent="0" algn="r" defTabSz="4572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>
                  <a:lumMod val="75000"/>
                </a:schemeClr>
              </a:buClr>
              <a:buSzPct val="85000"/>
              <a:buFont typeface="Helvetica" charset="0"/>
              <a:buNone/>
              <a:defRPr sz="2000" b="0" i="0" kern="1200" cap="all" spc="20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85000"/>
              <a:buFont typeface="Helvetica" charset="0"/>
              <a:buChar char="⁃"/>
              <a:defRPr sz="2400" b="0" i="0" kern="1200" spc="1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6858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85000"/>
              <a:buFont typeface="Helvetica" charset="0"/>
              <a:buChar char="•"/>
              <a:defRPr sz="2000" b="0" i="0" kern="1200" spc="100" baseline="0">
                <a:solidFill>
                  <a:schemeClr val="tx1">
                    <a:lumMod val="75000"/>
                  </a:schemeClr>
                </a:solidFill>
                <a:latin typeface="+mn-lt"/>
                <a:ea typeface="Arial" charset="0"/>
                <a:cs typeface="Arial" charset="0"/>
              </a:defRPr>
            </a:lvl3pPr>
            <a:lvl4pPr marL="9144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85000"/>
              <a:buFont typeface="Helvetica" charset="0"/>
              <a:buChar char="⁃"/>
              <a:defRPr sz="1800" b="0" i="0" kern="1200" spc="100" baseline="0">
                <a:solidFill>
                  <a:schemeClr val="tx1">
                    <a:lumMod val="75000"/>
                  </a:schemeClr>
                </a:solidFill>
                <a:latin typeface="+mn-lt"/>
                <a:ea typeface="Arial" charset="0"/>
                <a:cs typeface="Arial" charset="0"/>
              </a:defRPr>
            </a:lvl4pPr>
            <a:lvl5pPr marL="11430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SzPct val="85000"/>
              <a:buFont typeface="Helvetica" charset="0"/>
              <a:buChar char="•"/>
              <a:defRPr sz="1600" b="0" i="0" kern="1200" spc="100" baseline="0">
                <a:solidFill>
                  <a:schemeClr val="tx1">
                    <a:lumMod val="75000"/>
                  </a:schemeClr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000" baseline="0">
                <a:solidFill>
                  <a:schemeClr val="bg1"/>
                </a:solidFill>
                <a:highlight>
                  <a:srgbClr val="000000"/>
                </a:highlight>
              </a:rPr>
              <a:t>Funding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BD1FF7-F02D-1546-84E6-74924BFE6D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7199" y="265176"/>
            <a:ext cx="11277599" cy="1815882"/>
          </a:xfrm>
        </p:spPr>
        <p:txBody>
          <a:bodyPr wrap="square" bIns="45720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5400" b="0" i="0" spc="0">
                <a:solidFill>
                  <a:schemeClr val="accent1"/>
                </a:solidFill>
                <a:latin typeface="Franklin Gothic Medium Cond" panose="020B0606030402020204" pitchFamily="34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2400" cap="all" spc="200" baseline="0"/>
            </a:lvl2pPr>
            <a:lvl3pPr marL="228600" indent="0">
              <a:buNone/>
              <a:defRPr/>
            </a:lvl3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9715568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710C2F-AAEC-4241-8CB7-6FEE260B57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198" y="3656576"/>
            <a:ext cx="7048500" cy="2744224"/>
          </a:xfrm>
          <a:noFill/>
        </p:spPr>
        <p:txBody>
          <a:bodyPr lIns="182880" tIns="182880" rIns="182880" bIns="18288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A89D84B-02CC-CB4E-AA8D-F9297097DDA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57198" y="2056138"/>
            <a:ext cx="7048500" cy="1600438"/>
          </a:xfrm>
          <a:noFill/>
        </p:spPr>
        <p:txBody>
          <a:bodyPr lIns="182880" tIns="182880" rIns="182880" bIns="182880">
            <a:spAutoFit/>
          </a:bodyPr>
          <a:lstStyle>
            <a:lvl1pPr algn="ctr"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FA5BE74-57AC-954E-A768-BEDD7392FA3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05700" y="2056138"/>
            <a:ext cx="4229098" cy="4344662"/>
          </a:xfrm>
          <a:noFill/>
        </p:spPr>
        <p:txBody>
          <a:bodyPr lIns="182880" tIns="182880" rIns="182880" bIns="182880">
            <a:noAutofit/>
          </a:bodyPr>
          <a:lstStyle>
            <a:lvl1pPr algn="ctr">
              <a:defRPr sz="8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87604D-CCC3-CE49-ACD4-6DB499F39F6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7199" y="265176"/>
            <a:ext cx="11277599" cy="1815882"/>
          </a:xfrm>
        </p:spPr>
        <p:txBody>
          <a:bodyPr wrap="square" bIns="45720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5400" b="0" i="0" spc="0">
                <a:solidFill>
                  <a:schemeClr val="bg1"/>
                </a:solidFill>
                <a:latin typeface="Franklin Gothic Medium Cond" panose="020B0606030402020204" pitchFamily="34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2400" cap="all" spc="200" baseline="0">
                <a:solidFill>
                  <a:schemeClr val="bg1"/>
                </a:solidFill>
              </a:defRPr>
            </a:lvl2pPr>
            <a:lvl3pPr marL="228600" indent="0">
              <a:buNone/>
              <a:defRPr/>
            </a:lvl3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6994976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84518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4706B7F-B203-AA4F-A636-D68475656023}"/>
              </a:ext>
            </a:extLst>
          </p:cNvPr>
          <p:cNvGrpSpPr/>
          <p:nvPr userDrawn="1"/>
        </p:nvGrpSpPr>
        <p:grpSpPr>
          <a:xfrm>
            <a:off x="0" y="0"/>
            <a:ext cx="11734800" cy="6858000"/>
            <a:chOff x="152400" y="152400"/>
            <a:chExt cx="11734800" cy="6858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782BE68-32E8-CB42-A3F4-74C99F5D4996}"/>
                </a:ext>
              </a:extLst>
            </p:cNvPr>
            <p:cNvSpPr/>
            <p:nvPr/>
          </p:nvSpPr>
          <p:spPr>
            <a:xfrm>
              <a:off x="152400" y="152400"/>
              <a:ext cx="7505699" cy="685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" name="Picture Placeholder 5">
              <a:extLst>
                <a:ext uri="{FF2B5EF4-FFF2-40B4-BE49-F238E27FC236}">
                  <a16:creationId xmlns:a16="http://schemas.microsoft.com/office/drawing/2014/main" id="{589FA980-6D0F-CC40-A084-D9E9DD037C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7475" r="7475"/>
            <a:stretch/>
          </p:blipFill>
          <p:spPr>
            <a:xfrm>
              <a:off x="6702552" y="609600"/>
              <a:ext cx="5184648" cy="4571998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0B24C8D-F8DA-E844-9419-02B0490087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 amt="10000"/>
            </a:blip>
            <a:srcRect/>
            <a:stretch/>
          </p:blipFill>
          <p:spPr>
            <a:xfrm>
              <a:off x="5216652" y="1066800"/>
              <a:ext cx="2971800" cy="2716161"/>
            </a:xfrm>
            <a:prstGeom prst="rect">
              <a:avLst/>
            </a:prstGeom>
          </p:spPr>
        </p:pic>
        <p:sp>
          <p:nvSpPr>
            <p:cNvPr id="7" name="Text Placeholder 12">
              <a:extLst>
                <a:ext uri="{FF2B5EF4-FFF2-40B4-BE49-F238E27FC236}">
                  <a16:creationId xmlns:a16="http://schemas.microsoft.com/office/drawing/2014/main" id="{10348D28-05AD-ED4A-82E1-06A57FDDF449}"/>
                </a:ext>
              </a:extLst>
            </p:cNvPr>
            <p:cNvSpPr txBox="1">
              <a:spLocks/>
            </p:cNvSpPr>
            <p:nvPr/>
          </p:nvSpPr>
          <p:spPr>
            <a:xfrm>
              <a:off x="6702552" y="1066800"/>
              <a:ext cx="4727448" cy="5029199"/>
            </a:xfrm>
            <a:prstGeom prst="rect">
              <a:avLst/>
            </a:prstGeom>
            <a:noFill/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5400" b="0" i="0" kern="1200" spc="0" baseline="0">
                  <a:solidFill>
                    <a:schemeClr val="accent1"/>
                  </a:solidFill>
                  <a:latin typeface="Franklin Gothic Medium Cond" panose="020B060603040202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400" b="0" kern="1200" cap="all" spc="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kern="1200" cap="none" spc="5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28600" indent="-2286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2000" kern="1200" spc="5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57200" indent="-2286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System Font Regular"/>
                <a:buChar char="-"/>
                <a:defRPr sz="2000" kern="1200" spc="5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685800" indent="-2286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914400" indent="-2286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System Font Regular"/>
                <a:buChar char="-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System Font Regular"/>
                <a:buChar char="-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2"/>
              <a:r>
                <a:rPr lang="en-US"/>
                <a:t> </a:t>
              </a:r>
            </a:p>
          </p:txBody>
        </p:sp>
        <p:sp>
          <p:nvSpPr>
            <p:cNvPr id="8" name="Text Placeholder 9">
              <a:extLst>
                <a:ext uri="{FF2B5EF4-FFF2-40B4-BE49-F238E27FC236}">
                  <a16:creationId xmlns:a16="http://schemas.microsoft.com/office/drawing/2014/main" id="{32ED4643-4609-F74F-B792-2D9C80AA4E08}"/>
                </a:ext>
              </a:extLst>
            </p:cNvPr>
            <p:cNvSpPr txBox="1">
              <a:spLocks/>
            </p:cNvSpPr>
            <p:nvPr/>
          </p:nvSpPr>
          <p:spPr>
            <a:xfrm>
              <a:off x="1062764" y="1066799"/>
              <a:ext cx="4727448" cy="5029199"/>
            </a:xfrm>
            <a:prstGeom prst="rect">
              <a:avLst/>
            </a:prstGeom>
            <a:noFill/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5400" b="0" i="0" kern="1200" spc="0" baseline="0">
                  <a:solidFill>
                    <a:schemeClr val="accent1"/>
                  </a:solidFill>
                  <a:latin typeface="Franklin Gothic Medium Cond" panose="020B060603040202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400" b="0" kern="1200" cap="all" spc="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kern="1200" cap="none" spc="5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28600" indent="-2286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2000" kern="1200" spc="5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57200" indent="-2286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System Font Regular"/>
                <a:buChar char="-"/>
                <a:defRPr sz="2000" kern="1200" spc="5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685800" indent="-2286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914400" indent="-2286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System Font Regular"/>
                <a:buChar char="-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System Font Regular"/>
                <a:buChar char="-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>
                  <a:solidFill>
                    <a:schemeClr val="bg1"/>
                  </a:solidFill>
                </a:rPr>
                <a:t>Coastal Protection and Restoration Authority</a:t>
              </a:r>
            </a:p>
            <a:p>
              <a:pPr lvl="2"/>
              <a:r>
                <a:rPr lang="en-US">
                  <a:solidFill>
                    <a:schemeClr val="bg1"/>
                  </a:solidFill>
                </a:rPr>
                <a:t>Single state entity with authority to articulate a clear statement of priorities to achieve comprehensive coastal protection for Louisiana.</a:t>
              </a:r>
            </a:p>
            <a:p>
              <a:pPr lvl="2"/>
              <a:r>
                <a:rPr lang="en-US">
                  <a:solidFill>
                    <a:schemeClr val="bg1"/>
                  </a:solidFill>
                </a:rPr>
                <a:t>Mandate is to develop, implement, and enforce a comprehensive coastal protection and restoration master plan.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4D5DFFE1-EEFE-F248-9413-417E9489DDF9}"/>
                </a:ext>
              </a:extLst>
            </p:cNvPr>
            <p:cNvGrpSpPr/>
            <p:nvPr/>
          </p:nvGrpSpPr>
          <p:grpSpPr>
            <a:xfrm>
              <a:off x="9728748" y="5638798"/>
              <a:ext cx="2158452" cy="914400"/>
              <a:chOff x="-786852" y="4883045"/>
              <a:chExt cx="2158452" cy="914400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D5E68515-75D6-A648-ACE6-E8C128ACAE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grayscl/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harpenSoften amount="50000"/>
                        </a14:imgEffect>
                        <a14:imgEffect>
                          <a14:brightnessContrast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57200" y="4883045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4699CF28-1147-B44E-AE54-2843141E97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rcRect/>
              <a:stretch/>
            </p:blipFill>
            <p:spPr>
              <a:xfrm>
                <a:off x="-786852" y="4883045"/>
                <a:ext cx="1000462" cy="9144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3638906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0D184C21-3552-6E43-99CE-62CDB18D7D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7200" y="2081058"/>
            <a:ext cx="11277600" cy="43197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50B0CB4-2654-614A-98E3-5B4D7F75B9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7199" y="265176"/>
            <a:ext cx="11277600" cy="1815882"/>
          </a:xfrm>
        </p:spPr>
        <p:txBody>
          <a:bodyPr wrap="square" bIns="45720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5400" b="0" i="0" spc="0">
                <a:solidFill>
                  <a:schemeClr val="accent1"/>
                </a:solidFill>
                <a:latin typeface="Franklin Gothic Medium Cond" panose="020B0606030402020204" pitchFamily="34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2400" cap="all" spc="200" baseline="0"/>
            </a:lvl2pPr>
            <a:lvl3pPr marL="228600" indent="0">
              <a:buNone/>
              <a:defRPr/>
            </a:lvl3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4969389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EDA934E-BE80-584C-B909-27D3B3EA44D7}"/>
              </a:ext>
            </a:extLst>
          </p:cNvPr>
          <p:cNvGrpSpPr/>
          <p:nvPr userDrawn="1"/>
        </p:nvGrpSpPr>
        <p:grpSpPr>
          <a:xfrm>
            <a:off x="230124" y="211667"/>
            <a:ext cx="11731752" cy="6172200"/>
            <a:chOff x="384048" y="381000"/>
            <a:chExt cx="11731752" cy="61722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6900264-766A-AA46-8888-88E28C70E0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1196" t="28574" r="19386" b="9463"/>
            <a:stretch/>
          </p:blipFill>
          <p:spPr>
            <a:xfrm>
              <a:off x="384048" y="381000"/>
              <a:ext cx="11731752" cy="6172200"/>
            </a:xfrm>
            <a:prstGeom prst="rect">
              <a:avLst/>
            </a:prstGeom>
          </p:spPr>
        </p:pic>
        <p:sp>
          <p:nvSpPr>
            <p:cNvPr id="5" name="Text Placeholder 1">
              <a:extLst>
                <a:ext uri="{FF2B5EF4-FFF2-40B4-BE49-F238E27FC236}">
                  <a16:creationId xmlns:a16="http://schemas.microsoft.com/office/drawing/2014/main" id="{E72A73A3-641A-CD42-8C39-6E2D57A99808}"/>
                </a:ext>
              </a:extLst>
            </p:cNvPr>
            <p:cNvSpPr txBox="1">
              <a:spLocks/>
            </p:cNvSpPr>
            <p:nvPr/>
          </p:nvSpPr>
          <p:spPr>
            <a:xfrm>
              <a:off x="609598" y="417576"/>
              <a:ext cx="11277600" cy="1292662"/>
            </a:xfrm>
            <a:prstGeom prst="rect">
              <a:avLst/>
            </a:prstGeom>
            <a:noFill/>
          </p:spPr>
          <p:txBody>
            <a:bodyPr vert="horz" lIns="0" tIns="0" rIns="0" bIns="457200" rtlCol="0" anchor="t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None/>
                <a:defRPr sz="5400" b="0" i="0" kern="1200" spc="0" baseline="0">
                  <a:solidFill>
                    <a:schemeClr val="accent1"/>
                  </a:solidFill>
                  <a:latin typeface="Franklin Gothic Medium Cond" panose="020B0606030402020204" pitchFamily="34" charset="0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400" b="0" kern="1200" cap="all" spc="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000" kern="1200" cap="none" spc="5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28600" indent="-2286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2000" kern="1200" spc="5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57200" indent="-2286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System Font Regular"/>
                <a:buChar char="-"/>
                <a:defRPr sz="2000" kern="1200" spc="5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685800" indent="-2286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914400" indent="-2286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System Font Regular"/>
                <a:buChar char="-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System Font Regular"/>
                <a:buChar char="-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US"/>
                <a:t>Outreach &amp; Engagement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88C8CD5-3266-1845-97D0-FDACF69A7F34}"/>
                </a:ext>
              </a:extLst>
            </p:cNvPr>
            <p:cNvGrpSpPr/>
            <p:nvPr/>
          </p:nvGrpSpPr>
          <p:grpSpPr>
            <a:xfrm>
              <a:off x="1552516" y="1624107"/>
              <a:ext cx="9529142" cy="4514536"/>
              <a:chOff x="1367458" y="1471707"/>
              <a:chExt cx="9529142" cy="4514536"/>
            </a:xfrm>
          </p:grpSpPr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11D5A227-3659-B142-B7E3-A9F055710E7F}"/>
                  </a:ext>
                </a:extLst>
              </p:cNvPr>
              <p:cNvCxnSpPr>
                <a:cxnSpLocks/>
                <a:stCxn id="19" idx="3"/>
                <a:endCxn id="27" idx="2"/>
              </p:cNvCxnSpPr>
              <p:nvPr/>
            </p:nvCxnSpPr>
            <p:spPr>
              <a:xfrm flipV="1">
                <a:off x="2343441" y="1471707"/>
                <a:ext cx="1542759" cy="94936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</a:schemeClr>
                </a:solidFill>
                <a:prstDash val="sysDot"/>
                <a:headEnd w="lg" len="med"/>
                <a:tailEnd type="non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FDFAA463-A606-3949-988B-ED17240684A2}"/>
                  </a:ext>
                </a:extLst>
              </p:cNvPr>
              <p:cNvCxnSpPr>
                <a:cxnSpLocks/>
                <a:endCxn id="28" idx="2"/>
              </p:cNvCxnSpPr>
              <p:nvPr/>
            </p:nvCxnSpPr>
            <p:spPr>
              <a:xfrm>
                <a:off x="1819718" y="2042715"/>
                <a:ext cx="4913951" cy="1242802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</a:schemeClr>
                </a:solidFill>
                <a:prstDash val="sysDot"/>
                <a:headEnd w="lg" len="med"/>
                <a:tailEnd type="non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7B6FFAB3-884F-8B47-9BA8-513B3BA2DEB2}"/>
                  </a:ext>
                </a:extLst>
              </p:cNvPr>
              <p:cNvCxnSpPr>
                <a:cxnSpLocks/>
                <a:endCxn id="41" idx="2"/>
              </p:cNvCxnSpPr>
              <p:nvPr/>
            </p:nvCxnSpPr>
            <p:spPr>
              <a:xfrm>
                <a:off x="2007446" y="2548776"/>
                <a:ext cx="5435133" cy="634860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</a:schemeClr>
                </a:solidFill>
                <a:prstDash val="sysDot"/>
                <a:headEnd w="lg" len="med"/>
                <a:tailEnd type="non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CEE05631-0ADF-204B-9676-8AF2BB187AF2}"/>
                  </a:ext>
                </a:extLst>
              </p:cNvPr>
              <p:cNvCxnSpPr>
                <a:cxnSpLocks/>
                <a:endCxn id="38" idx="2"/>
              </p:cNvCxnSpPr>
              <p:nvPr/>
            </p:nvCxnSpPr>
            <p:spPr>
              <a:xfrm>
                <a:off x="1622811" y="3038035"/>
                <a:ext cx="5973567" cy="1276845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</a:schemeClr>
                </a:solidFill>
                <a:prstDash val="sysDot"/>
                <a:headEnd w="lg" len="med"/>
                <a:tailEnd type="non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23D44A41-3E8A-844B-8476-815D847EA06C}"/>
                  </a:ext>
                </a:extLst>
              </p:cNvPr>
              <p:cNvCxnSpPr>
                <a:cxnSpLocks/>
                <a:endCxn id="35" idx="1"/>
              </p:cNvCxnSpPr>
              <p:nvPr/>
            </p:nvCxnSpPr>
            <p:spPr>
              <a:xfrm>
                <a:off x="1426543" y="3538602"/>
                <a:ext cx="7125265" cy="1508006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</a:schemeClr>
                </a:solidFill>
                <a:prstDash val="sysDot"/>
                <a:headEnd w="lg" len="med"/>
                <a:tailEnd type="non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7552B188-A8D3-1547-95E5-34A2EEBE0812}"/>
                  </a:ext>
                </a:extLst>
              </p:cNvPr>
              <p:cNvCxnSpPr>
                <a:cxnSpLocks/>
                <a:endCxn id="45" idx="2"/>
              </p:cNvCxnSpPr>
              <p:nvPr/>
            </p:nvCxnSpPr>
            <p:spPr>
              <a:xfrm flipV="1">
                <a:off x="2415175" y="3590346"/>
                <a:ext cx="4863231" cy="431632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</a:schemeClr>
                </a:solidFill>
                <a:prstDash val="sysDot"/>
                <a:headEnd w="lg" len="med"/>
                <a:tailEnd type="non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EFCF170D-CB87-7747-8086-0C93AE15DFD3}"/>
                  </a:ext>
                </a:extLst>
              </p:cNvPr>
              <p:cNvCxnSpPr>
                <a:cxnSpLocks/>
                <a:endCxn id="36" idx="2"/>
              </p:cNvCxnSpPr>
              <p:nvPr/>
            </p:nvCxnSpPr>
            <p:spPr>
              <a:xfrm>
                <a:off x="2476281" y="4513044"/>
                <a:ext cx="5753319" cy="235814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</a:schemeClr>
                </a:solidFill>
                <a:prstDash val="sysDot"/>
                <a:headEnd w="lg" len="med"/>
                <a:tailEnd type="non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5A0624FE-67C7-BF42-975E-E9B4B8FE9692}"/>
                  </a:ext>
                </a:extLst>
              </p:cNvPr>
              <p:cNvCxnSpPr>
                <a:cxnSpLocks/>
                <a:endCxn id="42" idx="3"/>
              </p:cNvCxnSpPr>
              <p:nvPr/>
            </p:nvCxnSpPr>
            <p:spPr>
              <a:xfrm flipV="1">
                <a:off x="1367458" y="3406121"/>
                <a:ext cx="6246328" cy="1597990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</a:schemeClr>
                </a:solidFill>
                <a:prstDash val="sysDot"/>
                <a:headEnd w="lg" len="med"/>
                <a:tailEnd type="non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E8318BDF-90A2-4941-9A13-62A9EAEB1610}"/>
                  </a:ext>
                </a:extLst>
              </p:cNvPr>
              <p:cNvCxnSpPr>
                <a:cxnSpLocks/>
                <a:endCxn id="43" idx="3"/>
              </p:cNvCxnSpPr>
              <p:nvPr/>
            </p:nvCxnSpPr>
            <p:spPr>
              <a:xfrm flipV="1">
                <a:off x="2571419" y="3524993"/>
                <a:ext cx="5175717" cy="1970186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</a:schemeClr>
                </a:solidFill>
                <a:prstDash val="sysDot"/>
                <a:headEnd w="lg" len="med"/>
                <a:tailEnd type="non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589482F2-B396-824D-8EF6-32F344D31A61}"/>
                  </a:ext>
                </a:extLst>
              </p:cNvPr>
              <p:cNvCxnSpPr>
                <a:cxnSpLocks/>
                <a:endCxn id="37" idx="3"/>
              </p:cNvCxnSpPr>
              <p:nvPr/>
            </p:nvCxnSpPr>
            <p:spPr>
              <a:xfrm flipV="1">
                <a:off x="1447796" y="4430259"/>
                <a:ext cx="6418212" cy="1555984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</a:schemeClr>
                </a:solidFill>
                <a:prstDash val="sysDot"/>
                <a:headEnd w="lg" len="med"/>
                <a:tailEnd type="non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5A49827C-B5D4-134D-B4B1-15516EF53748}"/>
                  </a:ext>
                </a:extLst>
              </p:cNvPr>
              <p:cNvCxnSpPr>
                <a:cxnSpLocks/>
                <a:stCxn id="44" idx="7"/>
              </p:cNvCxnSpPr>
              <p:nvPr/>
            </p:nvCxnSpPr>
            <p:spPr>
              <a:xfrm flipV="1">
                <a:off x="7466738" y="1566642"/>
                <a:ext cx="2439262" cy="1863002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</a:schemeClr>
                </a:solidFill>
                <a:prstDash val="sysDot"/>
                <a:headEnd w="lg" len="med"/>
                <a:tailEnd type="non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E6FEE641-1EA1-9D4A-9D27-A25EDC7F1C3A}"/>
                  </a:ext>
                </a:extLst>
              </p:cNvPr>
              <p:cNvCxnSpPr>
                <a:cxnSpLocks/>
                <a:stCxn id="30" idx="7"/>
              </p:cNvCxnSpPr>
              <p:nvPr/>
            </p:nvCxnSpPr>
            <p:spPr>
              <a:xfrm flipV="1">
                <a:off x="5359264" y="2057709"/>
                <a:ext cx="5537336" cy="2904374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</a:schemeClr>
                </a:solidFill>
                <a:prstDash val="sysDot"/>
                <a:headEnd w="lg" len="med"/>
                <a:tailEnd type="non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ED139257-594B-924B-8C07-D473A4D6770D}"/>
                  </a:ext>
                </a:extLst>
              </p:cNvPr>
              <p:cNvCxnSpPr>
                <a:cxnSpLocks/>
                <a:stCxn id="40" idx="7"/>
              </p:cNvCxnSpPr>
              <p:nvPr/>
            </p:nvCxnSpPr>
            <p:spPr>
              <a:xfrm flipV="1">
                <a:off x="7249024" y="2548776"/>
                <a:ext cx="2523001" cy="573752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</a:schemeClr>
                </a:solidFill>
                <a:prstDash val="sysDot"/>
                <a:headEnd w="lg" len="med"/>
                <a:tailEnd type="non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9F4D30AC-CFD7-1443-B920-88DA8455FAE5}"/>
                  </a:ext>
                </a:extLst>
              </p:cNvPr>
              <p:cNvCxnSpPr>
                <a:cxnSpLocks/>
                <a:stCxn id="31" idx="6"/>
              </p:cNvCxnSpPr>
              <p:nvPr/>
            </p:nvCxnSpPr>
            <p:spPr>
              <a:xfrm flipV="1">
                <a:off x="5376672" y="3039843"/>
                <a:ext cx="5428488" cy="1227528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</a:schemeClr>
                </a:solidFill>
                <a:prstDash val="sysDot"/>
                <a:headEnd w="lg" len="med"/>
                <a:tailEnd type="non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19581FD5-9BBD-7D43-88D7-65A8A602E6DF}"/>
                  </a:ext>
                </a:extLst>
              </p:cNvPr>
              <p:cNvCxnSpPr>
                <a:cxnSpLocks/>
                <a:stCxn id="29" idx="5"/>
              </p:cNvCxnSpPr>
              <p:nvPr/>
            </p:nvCxnSpPr>
            <p:spPr>
              <a:xfrm>
                <a:off x="7188064" y="1824247"/>
                <a:ext cx="2865395" cy="1706663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</a:schemeClr>
                </a:solidFill>
                <a:prstDash val="sysDot"/>
                <a:headEnd w="lg" len="med"/>
                <a:tailEnd type="non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7C56BF6E-28E4-5C43-BDCB-C37EBFAFF876}"/>
                  </a:ext>
                </a:extLst>
              </p:cNvPr>
              <p:cNvCxnSpPr>
                <a:cxnSpLocks/>
                <a:stCxn id="33" idx="7"/>
              </p:cNvCxnSpPr>
              <p:nvPr/>
            </p:nvCxnSpPr>
            <p:spPr>
              <a:xfrm flipV="1">
                <a:off x="7492864" y="4021977"/>
                <a:ext cx="2560595" cy="1481498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</a:schemeClr>
                </a:solidFill>
                <a:prstDash val="sysDot"/>
                <a:headEnd w="lg" len="med"/>
                <a:tailEnd type="non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82895AC0-1F34-0340-BE84-BC08EF8530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10400" y="3940675"/>
                <a:ext cx="2895600" cy="572369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</a:schemeClr>
                </a:solidFill>
                <a:prstDash val="sysDot"/>
                <a:headEnd w="lg" len="med"/>
                <a:tailEnd type="non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ED3AD98C-4F1B-F941-8D2F-581328E1A5C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881872" y="5004111"/>
                <a:ext cx="1962872" cy="185958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</a:schemeClr>
                </a:solidFill>
                <a:prstDash val="sysDot"/>
                <a:headEnd w="lg" len="med"/>
                <a:tailEnd type="non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19BE44FF-BF7D-AF4A-997C-138DA8EE8781}"/>
                  </a:ext>
                </a:extLst>
              </p:cNvPr>
              <p:cNvCxnSpPr>
                <a:cxnSpLocks/>
                <a:stCxn id="32" idx="6"/>
              </p:cNvCxnSpPr>
              <p:nvPr/>
            </p:nvCxnSpPr>
            <p:spPr>
              <a:xfrm flipV="1">
                <a:off x="6852541" y="5495178"/>
                <a:ext cx="2565779" cy="431628"/>
              </a:xfrm>
              <a:prstGeom prst="line">
                <a:avLst/>
              </a:prstGeom>
              <a:ln w="19050">
                <a:solidFill>
                  <a:schemeClr val="tx1">
                    <a:lumMod val="50000"/>
                  </a:schemeClr>
                </a:solidFill>
                <a:prstDash val="sysDot"/>
                <a:headEnd w="lg" len="med"/>
                <a:tailEnd type="non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Text Placeholder 9">
              <a:extLst>
                <a:ext uri="{FF2B5EF4-FFF2-40B4-BE49-F238E27FC236}">
                  <a16:creationId xmlns:a16="http://schemas.microsoft.com/office/drawing/2014/main" id="{07C0DBA2-925F-0140-A985-EA8D375C3F03}"/>
                </a:ext>
              </a:extLst>
            </p:cNvPr>
            <p:cNvSpPr txBox="1">
              <a:spLocks/>
            </p:cNvSpPr>
            <p:nvPr/>
          </p:nvSpPr>
          <p:spPr>
            <a:xfrm>
              <a:off x="10068072" y="4479487"/>
              <a:ext cx="2047728" cy="3719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64008" bIns="45720" anchor="ctr" anchorCtr="0">
              <a:noAutofit/>
            </a:bodyPr>
            <a:lstStyle>
              <a:lvl1pPr marL="0" indent="0" algn="ctr" defTabSz="4572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tx1">
                    <a:lumMod val="75000"/>
                  </a:schemeClr>
                </a:buClr>
                <a:buSzPct val="85000"/>
                <a:buFont typeface="Helvetica" charset="0"/>
                <a:buNone/>
                <a:defRPr sz="1400" b="0" i="0" kern="1200" cap="all" spc="20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6858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24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2pPr>
              <a:lvl3pPr marL="11430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20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3pPr>
              <a:lvl4pPr marL="16002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18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4pPr>
              <a:lvl5pPr marL="20574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16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buClr>
                  <a:srgbClr val="4A4C4A">
                    <a:lumMod val="75000"/>
                  </a:srgbClr>
                </a:buClr>
              </a:pPr>
              <a:r>
                <a:rPr lang="en-US" sz="2000">
                  <a:highlight>
                    <a:srgbClr val="000000"/>
                  </a:highlight>
                  <a:latin typeface="+mn-lt"/>
                </a:rPr>
                <a:t>Jean Lafitte</a:t>
              </a:r>
            </a:p>
          </p:txBody>
        </p:sp>
        <p:sp>
          <p:nvSpPr>
            <p:cNvPr id="8" name="Text Placeholder 9">
              <a:extLst>
                <a:ext uri="{FF2B5EF4-FFF2-40B4-BE49-F238E27FC236}">
                  <a16:creationId xmlns:a16="http://schemas.microsoft.com/office/drawing/2014/main" id="{C5833D1D-997D-A140-B898-9B9EFD7B7D97}"/>
                </a:ext>
              </a:extLst>
            </p:cNvPr>
            <p:cNvSpPr txBox="1">
              <a:spLocks/>
            </p:cNvSpPr>
            <p:nvPr/>
          </p:nvSpPr>
          <p:spPr>
            <a:xfrm>
              <a:off x="384049" y="4970554"/>
              <a:ext cx="1135809" cy="3719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64008" bIns="45720" anchor="ctr" anchorCtr="0">
              <a:noAutofit/>
            </a:bodyPr>
            <a:lstStyle>
              <a:lvl1pPr marL="0" indent="0" algn="ctr" defTabSz="4572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tx1">
                    <a:lumMod val="75000"/>
                  </a:schemeClr>
                </a:buClr>
                <a:buSzPct val="85000"/>
                <a:buFont typeface="Helvetica" charset="0"/>
                <a:buNone/>
                <a:defRPr sz="1400" b="0" i="0" kern="1200" cap="all" spc="20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6858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24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2pPr>
              <a:lvl3pPr marL="11430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20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3pPr>
              <a:lvl4pPr marL="16002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18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4pPr>
              <a:lvl5pPr marL="20574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16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buClr>
                  <a:srgbClr val="4A4C4A">
                    <a:lumMod val="75000"/>
                  </a:srgbClr>
                </a:buClr>
              </a:pPr>
              <a:r>
                <a:rPr lang="en-US" sz="2000">
                  <a:highlight>
                    <a:srgbClr val="000000"/>
                  </a:highlight>
                  <a:latin typeface="+mn-lt"/>
                </a:rPr>
                <a:t>Violet</a:t>
              </a:r>
            </a:p>
          </p:txBody>
        </p:sp>
        <p:sp>
          <p:nvSpPr>
            <p:cNvPr id="9" name="Text Placeholder 9">
              <a:extLst>
                <a:ext uri="{FF2B5EF4-FFF2-40B4-BE49-F238E27FC236}">
                  <a16:creationId xmlns:a16="http://schemas.microsoft.com/office/drawing/2014/main" id="{28C6BF83-7CA2-DF40-A36A-90D1D4E3CF08}"/>
                </a:ext>
              </a:extLst>
            </p:cNvPr>
            <p:cNvSpPr txBox="1">
              <a:spLocks/>
            </p:cNvSpPr>
            <p:nvPr/>
          </p:nvSpPr>
          <p:spPr>
            <a:xfrm>
              <a:off x="384048" y="4479487"/>
              <a:ext cx="2244633" cy="3719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64008" bIns="45720" anchor="ctr" anchorCtr="0">
              <a:noAutofit/>
            </a:bodyPr>
            <a:lstStyle>
              <a:lvl1pPr marL="0" indent="0" algn="ctr" defTabSz="4572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tx1">
                    <a:lumMod val="75000"/>
                  </a:schemeClr>
                </a:buClr>
                <a:buSzPct val="85000"/>
                <a:buFont typeface="Helvetica" charset="0"/>
                <a:buNone/>
                <a:defRPr sz="1400" b="0" i="0" kern="1200" cap="all" spc="20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6858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24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2pPr>
              <a:lvl3pPr marL="11430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20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3pPr>
              <a:lvl4pPr marL="16002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18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4pPr>
              <a:lvl5pPr marL="20574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16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buClr>
                  <a:srgbClr val="4A4C4A">
                    <a:lumMod val="75000"/>
                  </a:srgbClr>
                </a:buClr>
              </a:pPr>
              <a:r>
                <a:rPr lang="en-US" sz="2000">
                  <a:highlight>
                    <a:srgbClr val="000000"/>
                  </a:highlight>
                  <a:latin typeface="+mn-lt"/>
                </a:rPr>
                <a:t>Port Sulphur</a:t>
              </a:r>
            </a:p>
          </p:txBody>
        </p:sp>
        <p:sp>
          <p:nvSpPr>
            <p:cNvPr id="10" name="Text Placeholder 9">
              <a:extLst>
                <a:ext uri="{FF2B5EF4-FFF2-40B4-BE49-F238E27FC236}">
                  <a16:creationId xmlns:a16="http://schemas.microsoft.com/office/drawing/2014/main" id="{CCA572FA-1CF9-9741-88D4-85D19BEE2AF9}"/>
                </a:ext>
              </a:extLst>
            </p:cNvPr>
            <p:cNvSpPr txBox="1">
              <a:spLocks/>
            </p:cNvSpPr>
            <p:nvPr/>
          </p:nvSpPr>
          <p:spPr>
            <a:xfrm>
              <a:off x="384048" y="3988420"/>
              <a:ext cx="2183527" cy="3719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64008" bIns="45720" anchor="ctr" anchorCtr="0">
              <a:noAutofit/>
            </a:bodyPr>
            <a:lstStyle>
              <a:lvl1pPr marL="0" indent="0" algn="ctr" defTabSz="4572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tx1">
                    <a:lumMod val="75000"/>
                  </a:schemeClr>
                </a:buClr>
                <a:buSzPct val="85000"/>
                <a:buFont typeface="Helvetica" charset="0"/>
                <a:buNone/>
                <a:defRPr sz="1400" b="0" i="0" kern="1200" cap="all" spc="20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6858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24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2pPr>
              <a:lvl3pPr marL="11430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20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3pPr>
              <a:lvl4pPr marL="16002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18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4pPr>
              <a:lvl5pPr marL="20574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16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buClr>
                  <a:srgbClr val="4A4C4A">
                    <a:lumMod val="75000"/>
                  </a:srgbClr>
                </a:buClr>
              </a:pPr>
              <a:r>
                <a:rPr lang="en-US" sz="2000">
                  <a:highlight>
                    <a:srgbClr val="000000"/>
                  </a:highlight>
                  <a:latin typeface="+mn-lt"/>
                </a:rPr>
                <a:t>Belle Chasse</a:t>
              </a:r>
            </a:p>
          </p:txBody>
        </p:sp>
        <p:sp>
          <p:nvSpPr>
            <p:cNvPr id="11" name="Text Placeholder 9">
              <a:extLst>
                <a:ext uri="{FF2B5EF4-FFF2-40B4-BE49-F238E27FC236}">
                  <a16:creationId xmlns:a16="http://schemas.microsoft.com/office/drawing/2014/main" id="{B986A2F0-863D-5646-AFA2-2D7D8B1556BE}"/>
                </a:ext>
              </a:extLst>
            </p:cNvPr>
            <p:cNvSpPr txBox="1">
              <a:spLocks/>
            </p:cNvSpPr>
            <p:nvPr/>
          </p:nvSpPr>
          <p:spPr>
            <a:xfrm>
              <a:off x="384049" y="3497353"/>
              <a:ext cx="1194894" cy="3719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64008" bIns="45720" anchor="ctr" anchorCtr="0">
              <a:noAutofit/>
            </a:bodyPr>
            <a:lstStyle>
              <a:lvl1pPr marL="0" indent="0" algn="ctr" defTabSz="4572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tx1">
                    <a:lumMod val="75000"/>
                  </a:schemeClr>
                </a:buClr>
                <a:buSzPct val="85000"/>
                <a:buFont typeface="Helvetica" charset="0"/>
                <a:buNone/>
                <a:defRPr sz="1400" b="0" i="0" kern="1200" cap="all" spc="20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6858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24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2pPr>
              <a:lvl3pPr marL="11430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20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3pPr>
              <a:lvl4pPr marL="16002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18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4pPr>
              <a:lvl5pPr marL="20574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16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buClr>
                  <a:srgbClr val="4A4C4A">
                    <a:lumMod val="75000"/>
                  </a:srgbClr>
                </a:buClr>
              </a:pPr>
              <a:r>
                <a:rPr lang="en-US" sz="2000">
                  <a:highlight>
                    <a:srgbClr val="000000"/>
                  </a:highlight>
                  <a:latin typeface="+mn-lt"/>
                </a:rPr>
                <a:t>Empire</a:t>
              </a:r>
            </a:p>
          </p:txBody>
        </p:sp>
        <p:sp>
          <p:nvSpPr>
            <p:cNvPr id="12" name="Text Placeholder 9">
              <a:extLst>
                <a:ext uri="{FF2B5EF4-FFF2-40B4-BE49-F238E27FC236}">
                  <a16:creationId xmlns:a16="http://schemas.microsoft.com/office/drawing/2014/main" id="{16A0F97F-20A5-8846-BFD1-88C921C5C7F6}"/>
                </a:ext>
              </a:extLst>
            </p:cNvPr>
            <p:cNvSpPr txBox="1">
              <a:spLocks/>
            </p:cNvSpPr>
            <p:nvPr/>
          </p:nvSpPr>
          <p:spPr>
            <a:xfrm>
              <a:off x="384048" y="3006286"/>
              <a:ext cx="1391163" cy="3719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64008" bIns="45720" anchor="ctr" anchorCtr="0">
              <a:noAutofit/>
            </a:bodyPr>
            <a:lstStyle>
              <a:lvl1pPr marL="0" indent="0" algn="ctr" defTabSz="4572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tx1">
                    <a:lumMod val="75000"/>
                  </a:schemeClr>
                </a:buClr>
                <a:buSzPct val="85000"/>
                <a:buFont typeface="Helvetica" charset="0"/>
                <a:buNone/>
                <a:defRPr sz="1400" b="0" i="0" kern="1200" cap="all" spc="20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6858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24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2pPr>
              <a:lvl3pPr marL="11430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20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3pPr>
              <a:lvl4pPr marL="16002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18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4pPr>
              <a:lvl5pPr marL="20574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16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buClr>
                  <a:srgbClr val="4A4C4A">
                    <a:lumMod val="75000"/>
                  </a:srgbClr>
                </a:buClr>
              </a:pPr>
              <a:r>
                <a:rPr lang="en-US" sz="2000">
                  <a:highlight>
                    <a:srgbClr val="000000"/>
                  </a:highlight>
                  <a:latin typeface="+mn-lt"/>
                </a:rPr>
                <a:t>Ironton</a:t>
              </a:r>
            </a:p>
          </p:txBody>
        </p:sp>
        <p:sp>
          <p:nvSpPr>
            <p:cNvPr id="13" name="Text Placeholder 9">
              <a:extLst>
                <a:ext uri="{FF2B5EF4-FFF2-40B4-BE49-F238E27FC236}">
                  <a16:creationId xmlns:a16="http://schemas.microsoft.com/office/drawing/2014/main" id="{D9691B7F-2B3E-6A4F-B201-C828BDFB99AD}"/>
                </a:ext>
              </a:extLst>
            </p:cNvPr>
            <p:cNvSpPr txBox="1">
              <a:spLocks/>
            </p:cNvSpPr>
            <p:nvPr/>
          </p:nvSpPr>
          <p:spPr>
            <a:xfrm>
              <a:off x="9570723" y="5461621"/>
              <a:ext cx="2545077" cy="3719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64008" bIns="45720" anchor="ctr" anchorCtr="0">
              <a:noAutofit/>
            </a:bodyPr>
            <a:lstStyle>
              <a:lvl1pPr marL="0" indent="0" algn="ctr" defTabSz="4572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tx1">
                    <a:lumMod val="75000"/>
                  </a:schemeClr>
                </a:buClr>
                <a:buSzPct val="85000"/>
                <a:buFont typeface="Helvetica" charset="0"/>
                <a:buNone/>
                <a:defRPr sz="1400" b="0" i="0" kern="1200" cap="all" spc="20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6858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24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2pPr>
              <a:lvl3pPr marL="11430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20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3pPr>
              <a:lvl4pPr marL="16002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18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4pPr>
              <a:lvl5pPr marL="20574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16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buClr>
                  <a:srgbClr val="4A4C4A">
                    <a:lumMod val="75000"/>
                  </a:srgbClr>
                </a:buClr>
              </a:pPr>
              <a:r>
                <a:rPr lang="en-US" sz="2000">
                  <a:highlight>
                    <a:srgbClr val="000000"/>
                  </a:highlight>
                  <a:latin typeface="+mn-lt"/>
                </a:rPr>
                <a:t>Port Fourchon</a:t>
              </a:r>
            </a:p>
          </p:txBody>
        </p:sp>
        <p:sp>
          <p:nvSpPr>
            <p:cNvPr id="14" name="Text Placeholder 9">
              <a:extLst>
                <a:ext uri="{FF2B5EF4-FFF2-40B4-BE49-F238E27FC236}">
                  <a16:creationId xmlns:a16="http://schemas.microsoft.com/office/drawing/2014/main" id="{CF3BA159-1892-A147-9477-ADBADBADCEDB}"/>
                </a:ext>
              </a:extLst>
            </p:cNvPr>
            <p:cNvSpPr txBox="1">
              <a:spLocks/>
            </p:cNvSpPr>
            <p:nvPr/>
          </p:nvSpPr>
          <p:spPr>
            <a:xfrm>
              <a:off x="384048" y="5952685"/>
              <a:ext cx="1216148" cy="3719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64008" bIns="45720" anchor="ctr" anchorCtr="0">
              <a:noAutofit/>
            </a:bodyPr>
            <a:lstStyle>
              <a:lvl1pPr marL="0" indent="0" algn="ctr" defTabSz="4572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tx1">
                    <a:lumMod val="75000"/>
                  </a:schemeClr>
                </a:buClr>
                <a:buSzPct val="85000"/>
                <a:buFont typeface="Helvetica" charset="0"/>
                <a:buNone/>
                <a:defRPr sz="1400" b="0" i="0" kern="1200" cap="all" spc="20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6858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24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2pPr>
              <a:lvl3pPr marL="11430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20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3pPr>
              <a:lvl4pPr marL="16002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18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4pPr>
              <a:lvl5pPr marL="20574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16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buClr>
                  <a:srgbClr val="4A4C4A">
                    <a:lumMod val="75000"/>
                  </a:srgbClr>
                </a:buClr>
              </a:pPr>
              <a:r>
                <a:rPr lang="en-US" sz="2000">
                  <a:highlight>
                    <a:srgbClr val="000000"/>
                  </a:highlight>
                  <a:latin typeface="+mn-lt"/>
                </a:rPr>
                <a:t>Davant</a:t>
              </a:r>
            </a:p>
          </p:txBody>
        </p:sp>
        <p:sp>
          <p:nvSpPr>
            <p:cNvPr id="15" name="Text Placeholder 9">
              <a:extLst>
                <a:ext uri="{FF2B5EF4-FFF2-40B4-BE49-F238E27FC236}">
                  <a16:creationId xmlns:a16="http://schemas.microsoft.com/office/drawing/2014/main" id="{B0E41104-6B0B-0449-A8A9-502ACDC347A5}"/>
                </a:ext>
              </a:extLst>
            </p:cNvPr>
            <p:cNvSpPr txBox="1">
              <a:spLocks/>
            </p:cNvSpPr>
            <p:nvPr/>
          </p:nvSpPr>
          <p:spPr>
            <a:xfrm>
              <a:off x="10997144" y="4970554"/>
              <a:ext cx="1118656" cy="3719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64008" bIns="45720" anchor="ctr" anchorCtr="0">
              <a:noAutofit/>
            </a:bodyPr>
            <a:lstStyle>
              <a:lvl1pPr marL="0" indent="0" algn="ctr" defTabSz="4572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tx1">
                    <a:lumMod val="75000"/>
                  </a:schemeClr>
                </a:buClr>
                <a:buSzPct val="85000"/>
                <a:buFont typeface="Helvetica" charset="0"/>
                <a:buNone/>
                <a:defRPr sz="1400" b="0" i="0" kern="1200" cap="all" spc="20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6858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24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2pPr>
              <a:lvl3pPr marL="11430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20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3pPr>
              <a:lvl4pPr marL="16002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18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4pPr>
              <a:lvl5pPr marL="20574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16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buClr>
                  <a:srgbClr val="4A4C4A">
                    <a:lumMod val="75000"/>
                  </a:srgbClr>
                </a:buClr>
              </a:pPr>
              <a:r>
                <a:rPr lang="en-US" sz="2000">
                  <a:highlight>
                    <a:srgbClr val="000000"/>
                  </a:highlight>
                  <a:latin typeface="+mn-lt"/>
                </a:rPr>
                <a:t>Buras</a:t>
              </a:r>
            </a:p>
          </p:txBody>
        </p:sp>
        <p:sp>
          <p:nvSpPr>
            <p:cNvPr id="16" name="Text Placeholder 9">
              <a:extLst>
                <a:ext uri="{FF2B5EF4-FFF2-40B4-BE49-F238E27FC236}">
                  <a16:creationId xmlns:a16="http://schemas.microsoft.com/office/drawing/2014/main" id="{7DC13CA6-F0B1-4049-94DF-6B4D75CC7040}"/>
                </a:ext>
              </a:extLst>
            </p:cNvPr>
            <p:cNvSpPr txBox="1">
              <a:spLocks/>
            </p:cNvSpPr>
            <p:nvPr/>
          </p:nvSpPr>
          <p:spPr>
            <a:xfrm>
              <a:off x="384048" y="5461621"/>
              <a:ext cx="2339771" cy="3719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64008" bIns="45720" anchor="ctr" anchorCtr="0">
              <a:noAutofit/>
            </a:bodyPr>
            <a:lstStyle>
              <a:lvl1pPr marL="0" indent="0" algn="ctr" defTabSz="4572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tx1">
                    <a:lumMod val="75000"/>
                  </a:schemeClr>
                </a:buClr>
                <a:buSzPct val="85000"/>
                <a:buFont typeface="Helvetica" charset="0"/>
                <a:buNone/>
                <a:defRPr sz="1400" b="0" i="0" kern="1200" cap="all" spc="20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6858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24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2pPr>
              <a:lvl3pPr marL="11430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20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3pPr>
              <a:lvl4pPr marL="16002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18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4pPr>
              <a:lvl5pPr marL="20574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16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buClr>
                  <a:srgbClr val="4A4C4A">
                    <a:lumMod val="75000"/>
                  </a:srgbClr>
                </a:buClr>
              </a:pPr>
              <a:r>
                <a:rPr lang="en-US" sz="2000">
                  <a:highlight>
                    <a:srgbClr val="000000"/>
                  </a:highlight>
                  <a:latin typeface="+mn-lt"/>
                </a:rPr>
                <a:t>Saint Bernard</a:t>
              </a:r>
            </a:p>
          </p:txBody>
        </p:sp>
        <p:sp>
          <p:nvSpPr>
            <p:cNvPr id="17" name="Text Placeholder 9">
              <a:extLst>
                <a:ext uri="{FF2B5EF4-FFF2-40B4-BE49-F238E27FC236}">
                  <a16:creationId xmlns:a16="http://schemas.microsoft.com/office/drawing/2014/main" id="{4A638E20-F371-7A4B-89C0-9B074A4DFCCC}"/>
                </a:ext>
              </a:extLst>
            </p:cNvPr>
            <p:cNvSpPr txBox="1">
              <a:spLocks/>
            </p:cNvSpPr>
            <p:nvPr/>
          </p:nvSpPr>
          <p:spPr>
            <a:xfrm>
              <a:off x="384049" y="2515219"/>
              <a:ext cx="1775797" cy="3719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64008" bIns="45720" anchor="ctr" anchorCtr="0">
              <a:noAutofit/>
            </a:bodyPr>
            <a:lstStyle>
              <a:lvl1pPr marL="0" indent="0" algn="ctr" defTabSz="4572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tx1">
                    <a:lumMod val="75000"/>
                  </a:schemeClr>
                </a:buClr>
                <a:buSzPct val="85000"/>
                <a:buFont typeface="Helvetica" charset="0"/>
                <a:buNone/>
                <a:defRPr sz="1400" b="0" i="0" kern="1200" cap="all" spc="20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6858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24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2pPr>
              <a:lvl3pPr marL="11430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20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3pPr>
              <a:lvl4pPr marL="16002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18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4pPr>
              <a:lvl5pPr marL="20574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16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buClr>
                  <a:srgbClr val="4A4C4A">
                    <a:lumMod val="75000"/>
                  </a:srgbClr>
                </a:buClr>
              </a:pPr>
              <a:r>
                <a:rPr lang="en-US" sz="2000">
                  <a:highlight>
                    <a:srgbClr val="000000"/>
                  </a:highlight>
                  <a:latin typeface="+mn-lt"/>
                </a:rPr>
                <a:t>Chalmette</a:t>
              </a:r>
            </a:p>
          </p:txBody>
        </p:sp>
        <p:sp>
          <p:nvSpPr>
            <p:cNvPr id="18" name="Text Placeholder 9">
              <a:extLst>
                <a:ext uri="{FF2B5EF4-FFF2-40B4-BE49-F238E27FC236}">
                  <a16:creationId xmlns:a16="http://schemas.microsoft.com/office/drawing/2014/main" id="{F9129E07-5B97-024D-9D5D-58015DBAE68F}"/>
                </a:ext>
              </a:extLst>
            </p:cNvPr>
            <p:cNvSpPr txBox="1">
              <a:spLocks/>
            </p:cNvSpPr>
            <p:nvPr/>
          </p:nvSpPr>
          <p:spPr>
            <a:xfrm>
              <a:off x="384049" y="2024152"/>
              <a:ext cx="1588069" cy="3719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64008" bIns="45720" anchor="ctr" anchorCtr="0">
              <a:noAutofit/>
            </a:bodyPr>
            <a:lstStyle>
              <a:lvl1pPr marL="0" indent="0" algn="ctr" defTabSz="4572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tx1">
                    <a:lumMod val="75000"/>
                  </a:schemeClr>
                </a:buClr>
                <a:buSzPct val="85000"/>
                <a:buFont typeface="Helvetica" charset="0"/>
                <a:buNone/>
                <a:defRPr sz="1400" b="0" i="0" kern="1200" cap="all" spc="20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6858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24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2pPr>
              <a:lvl3pPr marL="11430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20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3pPr>
              <a:lvl4pPr marL="16002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18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4pPr>
              <a:lvl5pPr marL="20574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16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buClr>
                  <a:srgbClr val="4A4C4A">
                    <a:lumMod val="75000"/>
                  </a:srgbClr>
                </a:buClr>
              </a:pPr>
              <a:r>
                <a:rPr lang="en-US" sz="2000">
                  <a:highlight>
                    <a:srgbClr val="000000"/>
                  </a:highlight>
                  <a:latin typeface="+mn-lt"/>
                </a:rPr>
                <a:t>Avondale</a:t>
              </a:r>
            </a:p>
          </p:txBody>
        </p:sp>
        <p:sp>
          <p:nvSpPr>
            <p:cNvPr id="19" name="Text Placeholder 9">
              <a:extLst>
                <a:ext uri="{FF2B5EF4-FFF2-40B4-BE49-F238E27FC236}">
                  <a16:creationId xmlns:a16="http://schemas.microsoft.com/office/drawing/2014/main" id="{AA2ED85A-B019-9247-9BEA-151FB96513EB}"/>
                </a:ext>
              </a:extLst>
            </p:cNvPr>
            <p:cNvSpPr txBox="1">
              <a:spLocks/>
            </p:cNvSpPr>
            <p:nvPr/>
          </p:nvSpPr>
          <p:spPr>
            <a:xfrm>
              <a:off x="384048" y="1533085"/>
              <a:ext cx="2111793" cy="3719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64008" bIns="45720" anchor="ctr" anchorCtr="0">
              <a:noAutofit/>
            </a:bodyPr>
            <a:lstStyle>
              <a:lvl1pPr marL="0" indent="0" algn="ctr" defTabSz="4572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tx1">
                    <a:lumMod val="75000"/>
                  </a:schemeClr>
                </a:buClr>
                <a:buSzPct val="85000"/>
                <a:buFont typeface="Helvetica" charset="0"/>
                <a:buNone/>
                <a:defRPr sz="1400" b="0" i="0" kern="1200" cap="all" spc="20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6858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24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2pPr>
              <a:lvl3pPr marL="11430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20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3pPr>
              <a:lvl4pPr marL="16002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18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4pPr>
              <a:lvl5pPr marL="20574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16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buClr>
                  <a:srgbClr val="4A4C4A">
                    <a:lumMod val="75000"/>
                  </a:srgbClr>
                </a:buClr>
              </a:pPr>
              <a:r>
                <a:rPr lang="en-US" sz="2000">
                  <a:highlight>
                    <a:srgbClr val="000000"/>
                  </a:highlight>
                  <a:latin typeface="+mn-lt"/>
                </a:rPr>
                <a:t>Baton Rouge</a:t>
              </a:r>
            </a:p>
          </p:txBody>
        </p:sp>
        <p:sp>
          <p:nvSpPr>
            <p:cNvPr id="20" name="Text Placeholder 9">
              <a:extLst>
                <a:ext uri="{FF2B5EF4-FFF2-40B4-BE49-F238E27FC236}">
                  <a16:creationId xmlns:a16="http://schemas.microsoft.com/office/drawing/2014/main" id="{B36F74EC-E12A-1345-8F7E-6C3DDE16FE4E}"/>
                </a:ext>
              </a:extLst>
            </p:cNvPr>
            <p:cNvSpPr txBox="1">
              <a:spLocks/>
            </p:cNvSpPr>
            <p:nvPr/>
          </p:nvSpPr>
          <p:spPr>
            <a:xfrm>
              <a:off x="10210800" y="3988420"/>
              <a:ext cx="1905000" cy="3719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64008" bIns="45720" anchor="ctr" anchorCtr="0">
              <a:noAutofit/>
            </a:bodyPr>
            <a:lstStyle>
              <a:lvl1pPr marL="0" indent="0" algn="ctr" defTabSz="4572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tx1">
                    <a:lumMod val="75000"/>
                  </a:schemeClr>
                </a:buClr>
                <a:buSzPct val="85000"/>
                <a:buFont typeface="Helvetica" charset="0"/>
                <a:buNone/>
                <a:defRPr sz="1400" b="0" i="0" kern="1200" cap="all" spc="20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6858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24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2pPr>
              <a:lvl3pPr marL="11430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20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3pPr>
              <a:lvl4pPr marL="16002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18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4pPr>
              <a:lvl5pPr marL="20574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16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buClr>
                  <a:srgbClr val="4A4C4A">
                    <a:lumMod val="75000"/>
                  </a:srgbClr>
                </a:buClr>
              </a:pPr>
              <a:r>
                <a:rPr lang="en-US" sz="2000">
                  <a:highlight>
                    <a:srgbClr val="000000"/>
                  </a:highlight>
                  <a:latin typeface="+mn-lt"/>
                </a:rPr>
                <a:t>Grand Isle</a:t>
              </a:r>
            </a:p>
          </p:txBody>
        </p:sp>
        <p:sp>
          <p:nvSpPr>
            <p:cNvPr id="21" name="Text Placeholder 9">
              <a:extLst>
                <a:ext uri="{FF2B5EF4-FFF2-40B4-BE49-F238E27FC236}">
                  <a16:creationId xmlns:a16="http://schemas.microsoft.com/office/drawing/2014/main" id="{10C0207C-ACA4-8249-8262-468800725DDB}"/>
                </a:ext>
              </a:extLst>
            </p:cNvPr>
            <p:cNvSpPr txBox="1">
              <a:spLocks/>
            </p:cNvSpPr>
            <p:nvPr/>
          </p:nvSpPr>
          <p:spPr>
            <a:xfrm>
              <a:off x="10210800" y="3497353"/>
              <a:ext cx="1905000" cy="3719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64008" bIns="45720" anchor="ctr" anchorCtr="0">
              <a:noAutofit/>
            </a:bodyPr>
            <a:lstStyle>
              <a:lvl1pPr marL="0" indent="0" algn="ctr" defTabSz="4572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tx1">
                    <a:lumMod val="75000"/>
                  </a:schemeClr>
                </a:buClr>
                <a:buSzPct val="85000"/>
                <a:buFont typeface="Helvetica" charset="0"/>
                <a:buNone/>
                <a:defRPr sz="1400" b="0" i="0" kern="1200" cap="all" spc="20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6858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24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2pPr>
              <a:lvl3pPr marL="11430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20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3pPr>
              <a:lvl4pPr marL="16002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18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4pPr>
              <a:lvl5pPr marL="20574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16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buClr>
                  <a:srgbClr val="4A4C4A">
                    <a:lumMod val="75000"/>
                  </a:srgbClr>
                </a:buClr>
              </a:pPr>
              <a:r>
                <a:rPr lang="en-US" sz="2000">
                  <a:highlight>
                    <a:srgbClr val="000000"/>
                  </a:highlight>
                  <a:latin typeface="+mn-lt"/>
                </a:rPr>
                <a:t>Mandeville</a:t>
              </a:r>
            </a:p>
          </p:txBody>
        </p:sp>
        <p:sp>
          <p:nvSpPr>
            <p:cNvPr id="22" name="Text Placeholder 9">
              <a:extLst>
                <a:ext uri="{FF2B5EF4-FFF2-40B4-BE49-F238E27FC236}">
                  <a16:creationId xmlns:a16="http://schemas.microsoft.com/office/drawing/2014/main" id="{86B16BDF-54B8-514A-AA7C-9B06E9875FF7}"/>
                </a:ext>
              </a:extLst>
            </p:cNvPr>
            <p:cNvSpPr txBox="1">
              <a:spLocks/>
            </p:cNvSpPr>
            <p:nvPr/>
          </p:nvSpPr>
          <p:spPr>
            <a:xfrm>
              <a:off x="10972800" y="3006286"/>
              <a:ext cx="1143000" cy="3719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64008" bIns="45720" anchor="ctr" anchorCtr="0">
              <a:noAutofit/>
            </a:bodyPr>
            <a:lstStyle>
              <a:lvl1pPr marL="0" indent="0" algn="ctr" defTabSz="4572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tx1">
                    <a:lumMod val="75000"/>
                  </a:schemeClr>
                </a:buClr>
                <a:buSzPct val="85000"/>
                <a:buFont typeface="Helvetica" charset="0"/>
                <a:buNone/>
                <a:defRPr sz="1400" b="0" i="0" kern="1200" cap="all" spc="20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6858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24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2pPr>
              <a:lvl3pPr marL="11430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20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3pPr>
              <a:lvl4pPr marL="16002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18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4pPr>
              <a:lvl5pPr marL="20574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16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buClr>
                  <a:srgbClr val="4A4C4A">
                    <a:lumMod val="75000"/>
                  </a:srgbClr>
                </a:buClr>
              </a:pPr>
              <a:r>
                <a:rPr lang="en-US" sz="2000">
                  <a:highlight>
                    <a:srgbClr val="000000"/>
                  </a:highlight>
                  <a:latin typeface="+mn-lt"/>
                </a:rPr>
                <a:t>Houma</a:t>
              </a:r>
            </a:p>
          </p:txBody>
        </p:sp>
        <p:sp>
          <p:nvSpPr>
            <p:cNvPr id="23" name="Text Placeholder 9">
              <a:extLst>
                <a:ext uri="{FF2B5EF4-FFF2-40B4-BE49-F238E27FC236}">
                  <a16:creationId xmlns:a16="http://schemas.microsoft.com/office/drawing/2014/main" id="{FB1C6FAD-F18F-D647-A548-B53419232306}"/>
                </a:ext>
              </a:extLst>
            </p:cNvPr>
            <p:cNvSpPr txBox="1">
              <a:spLocks/>
            </p:cNvSpPr>
            <p:nvPr/>
          </p:nvSpPr>
          <p:spPr>
            <a:xfrm>
              <a:off x="9932273" y="2515219"/>
              <a:ext cx="2183527" cy="3719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64008" bIns="45720" anchor="ctr" anchorCtr="0">
              <a:noAutofit/>
            </a:bodyPr>
            <a:lstStyle>
              <a:lvl1pPr marL="0" indent="0" algn="ctr" defTabSz="4572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tx1">
                    <a:lumMod val="75000"/>
                  </a:schemeClr>
                </a:buClr>
                <a:buSzPct val="85000"/>
                <a:buFont typeface="Helvetica" charset="0"/>
                <a:buNone/>
                <a:defRPr sz="1400" b="0" i="0" kern="1200" cap="all" spc="20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6858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24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2pPr>
              <a:lvl3pPr marL="11430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20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3pPr>
              <a:lvl4pPr marL="16002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18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4pPr>
              <a:lvl5pPr marL="20574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16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buClr>
                  <a:srgbClr val="4A4C4A">
                    <a:lumMod val="75000"/>
                  </a:srgbClr>
                </a:buClr>
              </a:pPr>
              <a:r>
                <a:rPr lang="en-US" sz="2000">
                  <a:highlight>
                    <a:srgbClr val="000000"/>
                  </a:highlight>
                  <a:latin typeface="+mn-lt"/>
                </a:rPr>
                <a:t>New Orleans</a:t>
              </a:r>
            </a:p>
          </p:txBody>
        </p:sp>
        <p:sp>
          <p:nvSpPr>
            <p:cNvPr id="24" name="Text Placeholder 9">
              <a:extLst>
                <a:ext uri="{FF2B5EF4-FFF2-40B4-BE49-F238E27FC236}">
                  <a16:creationId xmlns:a16="http://schemas.microsoft.com/office/drawing/2014/main" id="{BC32DD8E-F10D-0F44-80F8-962344FB2C06}"/>
                </a:ext>
              </a:extLst>
            </p:cNvPr>
            <p:cNvSpPr txBox="1">
              <a:spLocks/>
            </p:cNvSpPr>
            <p:nvPr/>
          </p:nvSpPr>
          <p:spPr>
            <a:xfrm>
              <a:off x="11049000" y="2024152"/>
              <a:ext cx="1066800" cy="3719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64008" bIns="45720" anchor="ctr" anchorCtr="0">
              <a:noAutofit/>
            </a:bodyPr>
            <a:lstStyle>
              <a:lvl1pPr marL="0" indent="0" algn="ctr" defTabSz="4572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tx1">
                    <a:lumMod val="75000"/>
                  </a:schemeClr>
                </a:buClr>
                <a:buSzPct val="85000"/>
                <a:buFont typeface="Helvetica" charset="0"/>
                <a:buNone/>
                <a:defRPr sz="1400" b="0" i="0" kern="1200" cap="all" spc="20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6858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24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2pPr>
              <a:lvl3pPr marL="11430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20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3pPr>
              <a:lvl4pPr marL="16002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18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4pPr>
              <a:lvl5pPr marL="20574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16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buClr>
                  <a:srgbClr val="4A4C4A">
                    <a:lumMod val="75000"/>
                  </a:srgbClr>
                </a:buClr>
              </a:pPr>
              <a:r>
                <a:rPr lang="en-US" sz="2000" err="1">
                  <a:highlight>
                    <a:srgbClr val="000000"/>
                  </a:highlight>
                  <a:latin typeface="+mn-lt"/>
                </a:rPr>
                <a:t>Dulac</a:t>
              </a:r>
              <a:endParaRPr lang="en-US" sz="2000">
                <a:highlight>
                  <a:srgbClr val="000000"/>
                </a:highlight>
                <a:latin typeface="+mn-lt"/>
              </a:endParaRPr>
            </a:p>
          </p:txBody>
        </p:sp>
        <p:sp>
          <p:nvSpPr>
            <p:cNvPr id="25" name="Text Placeholder 9">
              <a:extLst>
                <a:ext uri="{FF2B5EF4-FFF2-40B4-BE49-F238E27FC236}">
                  <a16:creationId xmlns:a16="http://schemas.microsoft.com/office/drawing/2014/main" id="{87B8C536-1A28-8344-A6CF-F7503ECE8F7C}"/>
                </a:ext>
              </a:extLst>
            </p:cNvPr>
            <p:cNvSpPr txBox="1">
              <a:spLocks/>
            </p:cNvSpPr>
            <p:nvPr/>
          </p:nvSpPr>
          <p:spPr>
            <a:xfrm>
              <a:off x="10058400" y="1533085"/>
              <a:ext cx="2057400" cy="3719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64008" bIns="45720" anchor="ctr" anchorCtr="0">
              <a:noAutofit/>
            </a:bodyPr>
            <a:lstStyle>
              <a:lvl1pPr marL="0" indent="0" algn="ctr" defTabSz="457200" rtl="0" eaLnBrk="1" latinLnBrk="0" hangingPunct="1">
                <a:lnSpc>
                  <a:spcPct val="90000"/>
                </a:lnSpc>
                <a:spcBef>
                  <a:spcPts val="0"/>
                </a:spcBef>
                <a:buClr>
                  <a:schemeClr val="tx1">
                    <a:lumMod val="75000"/>
                  </a:schemeClr>
                </a:buClr>
                <a:buSzPct val="85000"/>
                <a:buFont typeface="Helvetica" charset="0"/>
                <a:buNone/>
                <a:defRPr sz="1400" b="0" i="0" kern="1200" cap="all" spc="20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6858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24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2pPr>
              <a:lvl3pPr marL="11430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20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3pPr>
              <a:lvl4pPr marL="16002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⁃"/>
                <a:defRPr sz="18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4pPr>
              <a:lvl5pPr marL="2057400" indent="-228600" algn="l" defTabSz="457200" rtl="0" eaLnBrk="1" latinLnBrk="0" hangingPunct="1">
                <a:lnSpc>
                  <a:spcPct val="100000"/>
                </a:lnSpc>
                <a:spcBef>
                  <a:spcPts val="0"/>
                </a:spcBef>
                <a:buSzPct val="85000"/>
                <a:buFont typeface="Helvetica" charset="0"/>
                <a:buChar char="•"/>
                <a:defRPr sz="1600" b="0" i="0" kern="1200" spc="100" baseline="0">
                  <a:solidFill>
                    <a:schemeClr val="tx1">
                      <a:lumMod val="75000"/>
                    </a:schemeClr>
                  </a:solidFill>
                  <a:latin typeface="+mn-lt"/>
                  <a:ea typeface="Arial Narrow" charset="0"/>
                  <a:cs typeface="Arial Narrow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buClr>
                  <a:srgbClr val="4A4C4A">
                    <a:lumMod val="75000"/>
                  </a:srgbClr>
                </a:buClr>
              </a:pPr>
              <a:r>
                <a:rPr lang="en-US" sz="2000">
                  <a:highlight>
                    <a:srgbClr val="000000"/>
                  </a:highlight>
                  <a:latin typeface="+mn-lt"/>
                </a:rPr>
                <a:t>Braithwaite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6AD73672-D2D8-734E-9357-91013B4708E0}"/>
                </a:ext>
              </a:extLst>
            </p:cNvPr>
            <p:cNvGrpSpPr/>
            <p:nvPr/>
          </p:nvGrpSpPr>
          <p:grpSpPr>
            <a:xfrm>
              <a:off x="4038600" y="1564671"/>
              <a:ext cx="4995672" cy="4573971"/>
              <a:chOff x="3886200" y="1412271"/>
              <a:chExt cx="4995672" cy="4573971"/>
            </a:xfrm>
            <a:solidFill>
              <a:schemeClr val="tx1"/>
            </a:solidFill>
          </p:grpSpPr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7735015E-08EF-5D48-B62D-AE9F1620E22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886200" y="1412271"/>
                <a:ext cx="118872" cy="118872"/>
              </a:xfrm>
              <a:prstGeom prst="ellipse">
                <a:avLst/>
              </a:prstGeom>
              <a:grpFill/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9DB7B912-64B9-C241-8A8C-D1B720EFD7B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733669" y="3226081"/>
                <a:ext cx="118872" cy="118872"/>
              </a:xfrm>
              <a:prstGeom prst="ellipse">
                <a:avLst/>
              </a:prstGeom>
              <a:grpFill/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BFA4B508-FCAF-4346-B16C-664B950824C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86600" y="1722783"/>
                <a:ext cx="118872" cy="118872"/>
              </a:xfrm>
              <a:prstGeom prst="ellipse">
                <a:avLst/>
              </a:prstGeom>
              <a:grpFill/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4EE3491A-C838-934E-B820-9F4AD2A81C5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257800" y="4944675"/>
                <a:ext cx="118872" cy="118872"/>
              </a:xfrm>
              <a:prstGeom prst="ellipse">
                <a:avLst/>
              </a:prstGeom>
              <a:grpFill/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E1020C65-9C3D-4F44-88ED-31C91CC83B3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257800" y="4207935"/>
                <a:ext cx="118872" cy="118872"/>
              </a:xfrm>
              <a:prstGeom prst="ellipse">
                <a:avLst/>
              </a:prstGeom>
              <a:grpFill/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5585CB4F-FA1D-144B-8A3C-B9373284437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733669" y="5867370"/>
                <a:ext cx="118872" cy="118872"/>
              </a:xfrm>
              <a:prstGeom prst="ellipse">
                <a:avLst/>
              </a:prstGeom>
              <a:grpFill/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885248DA-2365-D449-9FBB-10E015697D0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391400" y="5486067"/>
                <a:ext cx="118872" cy="118872"/>
              </a:xfrm>
              <a:prstGeom prst="ellipse">
                <a:avLst/>
              </a:prstGeom>
              <a:grpFill/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2904E0D2-F1D4-9C48-89AC-CCDC6BD59F0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763000" y="5152300"/>
                <a:ext cx="118872" cy="118872"/>
              </a:xfrm>
              <a:prstGeom prst="ellipse">
                <a:avLst/>
              </a:prstGeom>
              <a:grpFill/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67195682-2F7E-D140-ACF6-0279EC50322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534400" y="5029200"/>
                <a:ext cx="118872" cy="118872"/>
              </a:xfrm>
              <a:prstGeom prst="ellipse">
                <a:avLst/>
              </a:prstGeom>
              <a:grpFill/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BDF39D0F-72BF-424B-97B8-26548B490B8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229600" y="4689422"/>
                <a:ext cx="118872" cy="118872"/>
              </a:xfrm>
              <a:prstGeom prst="ellipse">
                <a:avLst/>
              </a:prstGeom>
              <a:grpFill/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DA84E3C8-6E16-FF4A-A2AA-8945E5856A7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848600" y="4328795"/>
                <a:ext cx="118872" cy="118872"/>
              </a:xfrm>
              <a:prstGeom prst="ellipse">
                <a:avLst/>
              </a:prstGeom>
              <a:grpFill/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B4075114-F1DD-A543-A15D-1EF3401751F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596378" y="4255444"/>
                <a:ext cx="118872" cy="118872"/>
              </a:xfrm>
              <a:prstGeom prst="ellipse">
                <a:avLst/>
              </a:prstGeom>
              <a:grpFill/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FE20BE5A-119D-4045-99AF-447113C01DF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891528" y="3881239"/>
                <a:ext cx="118872" cy="118872"/>
              </a:xfrm>
              <a:prstGeom prst="ellipse">
                <a:avLst/>
              </a:prstGeom>
              <a:grpFill/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32655290-7127-4A48-9569-92C9BAA6244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147560" y="3105120"/>
                <a:ext cx="118872" cy="118872"/>
              </a:xfrm>
              <a:prstGeom prst="ellipse">
                <a:avLst/>
              </a:prstGeom>
              <a:grpFill/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1D908E16-ED27-2F4F-8153-F4869DA7480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442579" y="3124200"/>
                <a:ext cx="118872" cy="118872"/>
              </a:xfrm>
              <a:prstGeom prst="ellipse">
                <a:avLst/>
              </a:prstGeom>
              <a:grpFill/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192B4D57-9CF5-124F-9354-F98EB90FBE8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596378" y="3304657"/>
                <a:ext cx="118872" cy="118872"/>
              </a:xfrm>
              <a:prstGeom prst="ellipse">
                <a:avLst/>
              </a:prstGeom>
              <a:grpFill/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EA0A77BE-29F7-FB4B-9E08-E793F4F892B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729728" y="3423529"/>
                <a:ext cx="118872" cy="118872"/>
              </a:xfrm>
              <a:prstGeom prst="ellipse">
                <a:avLst/>
              </a:prstGeom>
              <a:grpFill/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67759FD3-4F81-CA43-9DD7-F4395C41B26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365274" y="3412236"/>
                <a:ext cx="118872" cy="118872"/>
              </a:xfrm>
              <a:prstGeom prst="ellipse">
                <a:avLst/>
              </a:prstGeom>
              <a:grpFill/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17E1D06F-C03C-0D40-9FFE-8A1E82894C2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278406" y="3530910"/>
                <a:ext cx="118872" cy="118872"/>
              </a:xfrm>
              <a:prstGeom prst="ellipse">
                <a:avLst/>
              </a:prstGeom>
              <a:grpFill/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141320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A795F4-A223-D240-88A9-1224779925E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7200" y="1557839"/>
            <a:ext cx="5413248" cy="4842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09AC1833-8FF6-D842-B1D3-066D27A5E89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21552" y="1557581"/>
            <a:ext cx="5413248" cy="48432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54D609E-5258-F145-965A-F17F7B85D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11277600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51639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A795F4-A223-D240-88A9-1224779925E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7200" y="2081057"/>
            <a:ext cx="5413248" cy="431974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09AC1833-8FF6-D842-B1D3-066D27A5E89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21552" y="2080829"/>
            <a:ext cx="5413248" cy="4319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54C3DEC-D580-A343-A429-8FA47B57152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7199" y="265176"/>
            <a:ext cx="11277600" cy="1815882"/>
          </a:xfrm>
        </p:spPr>
        <p:txBody>
          <a:bodyPr wrap="square" bIns="45720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5400" b="0" i="0" spc="0">
                <a:solidFill>
                  <a:schemeClr val="accent1"/>
                </a:solidFill>
                <a:latin typeface="Franklin Gothic Medium Cond" panose="020B0606030402020204" pitchFamily="34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2400" cap="all" spc="200" baseline="0"/>
            </a:lvl2pPr>
            <a:lvl3pPr marL="228600" indent="0">
              <a:buNone/>
              <a:defRPr/>
            </a:lvl3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8106589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pter 1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308976E-5DE0-ED49-A343-EA947F62CCD2}"/>
              </a:ext>
            </a:extLst>
          </p:cNvPr>
          <p:cNvSpPr/>
          <p:nvPr userDrawn="1"/>
        </p:nvSpPr>
        <p:spPr>
          <a:xfrm>
            <a:off x="6550154" y="228600"/>
            <a:ext cx="5641846" cy="640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FF8C9918-3762-E349-A9A5-7397BD4160A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914400" y="1557838"/>
            <a:ext cx="4721354" cy="4385760"/>
          </a:xfrm>
        </p:spPr>
        <p:txBody>
          <a:bodyPr anchor="ctr" anchorCtr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720CEB5-CDDF-9348-BC4B-14555E3D1AC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467600" y="914401"/>
            <a:ext cx="3810000" cy="5029198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A43236D-0213-1D40-A641-C3A5DAEA52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65176"/>
            <a:ext cx="5178554" cy="1292662"/>
          </a:xfrm>
        </p:spPr>
        <p:txBody>
          <a:bodyPr/>
          <a:lstStyle/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2725173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pter 1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A863F59C-1398-8B4D-BCD3-ABEBB14BF00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914400" y="1557839"/>
            <a:ext cx="4721354" cy="4385760"/>
          </a:xfrm>
        </p:spPr>
        <p:txBody>
          <a:bodyPr anchor="t" anchorCtr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332C311B-D07F-D541-A38A-75AF301553D6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556246" y="1557839"/>
            <a:ext cx="4721354" cy="4385760"/>
          </a:xfrm>
        </p:spPr>
        <p:txBody>
          <a:bodyPr anchor="t" anchorCtr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DB8694E-70AC-7B4B-90D1-1603E1AD2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11277600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12888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hapter 1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18D745C-1660-7F40-8AD9-DBB8EF5FDAC3}"/>
              </a:ext>
            </a:extLst>
          </p:cNvPr>
          <p:cNvSpPr/>
          <p:nvPr userDrawn="1"/>
        </p:nvSpPr>
        <p:spPr>
          <a:xfrm>
            <a:off x="1" y="0"/>
            <a:ext cx="60919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37BA1FC-1ECB-1A4F-BE9D-4E33C3246D6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914400" y="1557839"/>
            <a:ext cx="4261104" cy="4385760"/>
          </a:xfrm>
        </p:spPr>
        <p:txBody>
          <a:bodyPr anchor="t" anchorCtr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40ADAC8F-37C8-6747-9041-F2FB3647379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7006354" y="1557839"/>
            <a:ext cx="4271246" cy="4385760"/>
          </a:xfrm>
        </p:spPr>
        <p:txBody>
          <a:bodyPr anchor="t" anchorCtr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713FE86-681D-254E-8CFD-9425131E5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11277600" cy="12926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32434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4573B21-E697-4776-9DC7-E52B9DA17A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027129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" name="think-cell Slide" r:id="rId44" imgW="347" imgH="346" progId="TCLayout.ActiveDocument.1">
                  <p:embed/>
                </p:oleObj>
              </mc:Choice>
              <mc:Fallback>
                <p:oleObj name="think-cell Slide" r:id="rId44" imgW="347" imgH="34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4573B21-E697-4776-9DC7-E52B9DA17A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28">
            <a:extLst>
              <a:ext uri="{FF2B5EF4-FFF2-40B4-BE49-F238E27FC236}">
                <a16:creationId xmlns:a16="http://schemas.microsoft.com/office/drawing/2014/main" id="{F0159536-C66C-914B-B21F-442E4E0D6D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557838"/>
            <a:ext cx="11277600" cy="4842962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Bullets</a:t>
            </a:r>
          </a:p>
          <a:p>
            <a:pPr lvl="2"/>
            <a:r>
              <a:rPr lang="en-US"/>
              <a:t>Bullets two</a:t>
            </a:r>
          </a:p>
          <a:p>
            <a:pPr lvl="3"/>
            <a:r>
              <a:rPr lang="en-US"/>
              <a:t>Heading two</a:t>
            </a:r>
          </a:p>
          <a:p>
            <a:pPr lvl="4"/>
            <a:r>
              <a:rPr lang="en-US"/>
              <a:t>Heading one</a:t>
            </a:r>
          </a:p>
          <a:p>
            <a:pPr lvl="5"/>
            <a:r>
              <a:rPr lang="en-US"/>
              <a:t>Title</a:t>
            </a:r>
          </a:p>
          <a:p>
            <a:pPr lvl="6"/>
            <a:r>
              <a:rPr lang="en-US"/>
              <a:t>Body text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0BCBD550-6999-994B-8F9A-165E75EBF8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11277600" cy="1292662"/>
          </a:xfrm>
          <a:prstGeom prst="rect">
            <a:avLst/>
          </a:prstGeom>
        </p:spPr>
        <p:txBody>
          <a:bodyPr vert="horz" wrap="square" lIns="0" tIns="0" rIns="0" bIns="457200" rtlCol="0" anchor="t" anchorCtr="0">
            <a:spAutoFit/>
          </a:bodyPr>
          <a:lstStyle/>
          <a:p>
            <a:r>
              <a:rPr lang="en-US"/>
              <a:t>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F3EBFB-FAAF-1E43-A04B-F857773CF1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400800"/>
            <a:ext cx="11734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28600" rIns="0" anchor="ctr" anchorCtr="0">
            <a:no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l" eaLnBrk="1" hangingPunct="1"/>
            <a:r>
              <a:rPr lang="en-US" sz="800" b="0" i="0" u="none" strike="noStrike" kern="1200" cap="all" spc="1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Coastal Protection and Restoration Authority  /  Mid-Basin Sediment Diversion Progra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F3C13F-7693-8041-800C-DE6EC0883E8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734800" y="6400800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 anchor="ctr" anchorCtr="0">
            <a:no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ctr" eaLnBrk="1" hangingPunct="1"/>
            <a:fld id="{44C37EC8-212B-D845-8C24-DA27C0385206}" type="slidenum">
              <a:rPr lang="en-US" sz="800" b="0" i="0" u="none" strike="noStrike" kern="1200" cap="all" spc="100" baseline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pPr algn="ctr" eaLnBrk="1" hangingPunct="1"/>
              <a:t>‹#›</a:t>
            </a:fld>
            <a:endParaRPr lang="ru-RU" altLang="en-US" sz="800" b="0" i="0" cap="all" spc="100" baseline="0">
              <a:solidFill>
                <a:schemeClr val="tx1"/>
              </a:solidFill>
              <a:latin typeface="+mn-lt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2738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9" r:id="rId1"/>
    <p:sldLayoutId id="2147484229" r:id="rId2"/>
    <p:sldLayoutId id="2147484314" r:id="rId3"/>
    <p:sldLayoutId id="2147484316" r:id="rId4"/>
    <p:sldLayoutId id="2147484248" r:id="rId5"/>
    <p:sldLayoutId id="2147484317" r:id="rId6"/>
    <p:sldLayoutId id="2147484263" r:id="rId7"/>
    <p:sldLayoutId id="2147484264" r:id="rId8"/>
    <p:sldLayoutId id="2147484265" r:id="rId9"/>
    <p:sldLayoutId id="2147484252" r:id="rId10"/>
    <p:sldLayoutId id="2147484253" r:id="rId11"/>
    <p:sldLayoutId id="2147484254" r:id="rId12"/>
    <p:sldLayoutId id="2147484255" r:id="rId13"/>
    <p:sldLayoutId id="2147484257" r:id="rId14"/>
    <p:sldLayoutId id="2147484258" r:id="rId15"/>
    <p:sldLayoutId id="2147484259" r:id="rId16"/>
    <p:sldLayoutId id="2147484260" r:id="rId17"/>
    <p:sldLayoutId id="2147484261" r:id="rId18"/>
    <p:sldLayoutId id="2147484262" r:id="rId19"/>
    <p:sldLayoutId id="2147484266" r:id="rId20"/>
    <p:sldLayoutId id="2147484267" r:id="rId21"/>
    <p:sldLayoutId id="2147484268" r:id="rId22"/>
    <p:sldLayoutId id="2147484269" r:id="rId23"/>
    <p:sldLayoutId id="2147484270" r:id="rId24"/>
    <p:sldLayoutId id="2147484271" r:id="rId25"/>
    <p:sldLayoutId id="2147484272" r:id="rId26"/>
    <p:sldLayoutId id="2147484273" r:id="rId27"/>
    <p:sldLayoutId id="2147484274" r:id="rId28"/>
    <p:sldLayoutId id="2147484275" r:id="rId29"/>
    <p:sldLayoutId id="2147484276" r:id="rId30"/>
    <p:sldLayoutId id="2147484277" r:id="rId31"/>
    <p:sldLayoutId id="2147484278" r:id="rId32"/>
    <p:sldLayoutId id="2147484279" r:id="rId33"/>
    <p:sldLayoutId id="2147484224" r:id="rId34"/>
    <p:sldLayoutId id="2147484226" r:id="rId35"/>
    <p:sldLayoutId id="2147484232" r:id="rId36"/>
    <p:sldLayoutId id="2147484238" r:id="rId37"/>
    <p:sldLayoutId id="2147484235" r:id="rId38"/>
    <p:sldLayoutId id="2147484315" r:id="rId39"/>
    <p:sldLayoutId id="2147484318" r:id="rId4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5400" b="0" i="0" kern="1200" cap="none" spc="0" normalizeH="0" baseline="0">
          <a:solidFill>
            <a:schemeClr val="accent1"/>
          </a:solidFill>
          <a:latin typeface="Franklin Gothic Medium Cond" panose="020B06060304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2000" b="0" kern="1200" cap="none" spc="50" baseline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2000" b="0" kern="1200" cap="none" spc="50" baseline="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System Font Regular"/>
        <a:buChar char="-"/>
        <a:defRPr sz="2000" kern="1200" cap="none" spc="50" baseline="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0" i="0" kern="1200" cap="all" spc="200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 Regular"/>
        <a:buNone/>
        <a:defRPr sz="4400" b="0" i="0" kern="1200" spc="0" baseline="0">
          <a:solidFill>
            <a:schemeClr val="tx1"/>
          </a:solidFill>
          <a:latin typeface="Franklin Gothic Medium Cond" panose="020B0606030402020204" pitchFamily="34" charset="0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5400" b="0" i="0" kern="1200" cap="none" spc="0" baseline="0">
          <a:solidFill>
            <a:schemeClr val="accent1"/>
          </a:solidFill>
          <a:latin typeface="Franklin Gothic Medium Cond" panose="020B0606030402020204" pitchFamily="34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System Font Regular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00000"/>
        </a:lnSpc>
        <a:spcBef>
          <a:spcPts val="0"/>
        </a:spcBef>
        <a:buFont typeface="System Font Regular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88">
          <p15:clr>
            <a:srgbClr val="A4A3A4"/>
          </p15:clr>
        </p15:guide>
        <p15:guide id="4" pos="7392">
          <p15:clr>
            <a:srgbClr val="A4A3A4"/>
          </p15:clr>
        </p15:guide>
        <p15:guide id="5" pos="1176">
          <p15:clr>
            <a:srgbClr val="A4A3A4"/>
          </p15:clr>
        </p15:guide>
        <p15:guide id="7" pos="2064">
          <p15:clr>
            <a:srgbClr val="A4A3A4"/>
          </p15:clr>
        </p15:guide>
        <p15:guide id="9" pos="2952">
          <p15:clr>
            <a:srgbClr val="A4A3A4"/>
          </p15:clr>
        </p15:guide>
        <p15:guide id="11" pos="3840">
          <p15:clr>
            <a:srgbClr val="A4A3A4"/>
          </p15:clr>
        </p15:guide>
        <p15:guide id="13" pos="4728">
          <p15:clr>
            <a:srgbClr val="A4A3A4"/>
          </p15:clr>
        </p15:guide>
        <p15:guide id="15" pos="5616">
          <p15:clr>
            <a:srgbClr val="A4A3A4"/>
          </p15:clr>
        </p15:guide>
        <p15:guide id="17" pos="6504">
          <p15:clr>
            <a:srgbClr val="A4A3A4"/>
          </p15:clr>
        </p15:guide>
        <p15:guide id="21" orient="horz" pos="288">
          <p15:clr>
            <a:srgbClr val="FDE53C"/>
          </p15:clr>
        </p15:guide>
        <p15:guide id="22" orient="horz" pos="4032">
          <p15:clr>
            <a:srgbClr val="FDE53C"/>
          </p15:clr>
        </p15:guide>
        <p15:guide id="23" orient="horz" pos="144">
          <p15:clr>
            <a:srgbClr val="FFFFFF"/>
          </p15:clr>
        </p15:guide>
        <p15:guide id="24" pos="7536">
          <p15:clr>
            <a:srgbClr val="FFFFFF"/>
          </p15:clr>
        </p15:guide>
        <p15:guide id="25" pos="144">
          <p15:clr>
            <a:srgbClr val="A4A3A4"/>
          </p15:clr>
        </p15:guide>
        <p15:guide id="26" orient="horz" pos="4176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microsoft.com/office/2007/relationships/hdphoto" Target="../media/hdphoto3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4528D89-BDCC-F34C-805A-7F286F42A66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 smtClean="0"/>
              <a:t>June 2023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E3F044F-616D-E240-9445-EEF36811E1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5400" dirty="0" smtClean="0"/>
              <a:t>Maximizing Large-scale Project Benefits through Watershed-scale Planning</a:t>
            </a:r>
          </a:p>
          <a:p>
            <a:pPr lvl="1"/>
            <a:endParaRPr lang="en-US" sz="1600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08378D04-C37E-2B4E-BD3C-0A7FE677AB8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7200" y="6137033"/>
            <a:ext cx="9867900" cy="228600"/>
          </a:xfrm>
        </p:spPr>
        <p:txBody>
          <a:bodyPr/>
          <a:lstStyle/>
          <a:p>
            <a:r>
              <a:rPr lang="en-US" dirty="0" smtClean="0"/>
              <a:t>Katie Freer, Project Manag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606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F47212-9326-A14E-9346-DDC2C478C3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11277600" cy="2123658"/>
          </a:xfrm>
        </p:spPr>
        <p:txBody>
          <a:bodyPr/>
          <a:lstStyle/>
          <a:p>
            <a:r>
              <a:rPr lang="en-US" dirty="0" smtClean="0"/>
              <a:t>Calcasieu-Sabine Large-Scale Marsh and Hydrologic Restoration Project (CS-87)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A1F398-0840-0140-83CE-A611DB97F3E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7200" y="2302113"/>
            <a:ext cx="7424057" cy="2275224"/>
          </a:xfrm>
        </p:spPr>
        <p:txBody>
          <a:bodyPr/>
          <a:lstStyle/>
          <a:p>
            <a:r>
              <a:rPr lang="en-US" b="1" dirty="0">
                <a:cs typeface="Calibri"/>
              </a:rPr>
              <a:t>Funding Source: RESTORE Act Direct Component </a:t>
            </a:r>
            <a:r>
              <a:rPr lang="en-US" b="1" dirty="0">
                <a:ea typeface="+mn-lt"/>
                <a:cs typeface="+mn-lt"/>
              </a:rPr>
              <a:t>(Bucket 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cs typeface="Calibri"/>
              </a:rPr>
              <a:t>This project replaces the discontinued Calcasieu Ship Channel Salinity Control Measures Project</a:t>
            </a:r>
            <a:endParaRPr lang="en-US" dirty="0">
              <a:ea typeface="+mn-lt"/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cs typeface="Calibri"/>
              </a:rPr>
              <a:t>Full </a:t>
            </a:r>
            <a:r>
              <a:rPr lang="en-US" dirty="0">
                <a:cs typeface="Calibri"/>
              </a:rPr>
              <a:t>$260.97M Bucket 1 allocation for </a:t>
            </a:r>
            <a:r>
              <a:rPr lang="en-US" dirty="0" smtClean="0">
                <a:cs typeface="Calibri"/>
              </a:rPr>
              <a:t>Louisiana dedicated </a:t>
            </a:r>
            <a:r>
              <a:rPr lang="en-US" dirty="0">
                <a:cs typeface="Calibri"/>
              </a:rPr>
              <a:t>to this </a:t>
            </a:r>
            <a:r>
              <a:rPr lang="en-US" dirty="0" smtClean="0">
                <a:cs typeface="Calibri"/>
              </a:rPr>
              <a:t>project</a:t>
            </a:r>
          </a:p>
          <a:p>
            <a:pPr marL="571500" lvl="1" indent="-342900"/>
            <a:r>
              <a:rPr lang="en-US" dirty="0" smtClean="0">
                <a:cs typeface="Calibri"/>
              </a:rPr>
              <a:t>Engineering &amp; Design</a:t>
            </a:r>
          </a:p>
          <a:p>
            <a:pPr marL="571500" lvl="1" indent="-342900"/>
            <a:r>
              <a:rPr lang="en-US" dirty="0" smtClean="0">
                <a:cs typeface="Calibri"/>
              </a:rPr>
              <a:t>Permitting</a:t>
            </a:r>
          </a:p>
          <a:p>
            <a:pPr marL="571500" lvl="1" indent="-342900"/>
            <a:r>
              <a:rPr lang="en-US" dirty="0" smtClean="0">
                <a:cs typeface="Calibri"/>
              </a:rPr>
              <a:t>Construction</a:t>
            </a:r>
          </a:p>
          <a:p>
            <a:pPr marL="571500" lvl="1" indent="-342900"/>
            <a:r>
              <a:rPr lang="en-US" dirty="0" smtClean="0">
                <a:cs typeface="Calibri"/>
              </a:rPr>
              <a:t>Operations &amp; Maintenance of Drainage Structures</a:t>
            </a:r>
          </a:p>
          <a:p>
            <a:pPr marL="571500" lvl="1" indent="-342900"/>
            <a:r>
              <a:rPr lang="en-US" dirty="0" smtClean="0">
                <a:cs typeface="Calibri"/>
              </a:rPr>
              <a:t>Monitoring and Adaptive Managemen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60513" y="2090061"/>
            <a:ext cx="3394660" cy="44196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726897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F47212-9326-A14E-9346-DDC2C478C3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5176"/>
            <a:ext cx="11277600" cy="1292662"/>
          </a:xfrm>
        </p:spPr>
        <p:txBody>
          <a:bodyPr/>
          <a:lstStyle/>
          <a:p>
            <a:r>
              <a:rPr lang="en-US" dirty="0" smtClean="0"/>
              <a:t>Project Purpose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A1F398-0840-0140-83CE-A611DB97F3E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71501" y="1324039"/>
            <a:ext cx="4914900" cy="5459143"/>
          </a:xfrm>
        </p:spPr>
        <p:txBody>
          <a:bodyPr/>
          <a:lstStyle/>
          <a:p>
            <a:pPr lvl="3"/>
            <a:r>
              <a:rPr lang="en-US" sz="2000" dirty="0">
                <a:cs typeface="Calibri"/>
              </a:rPr>
              <a:t>PROJECT GOAL: </a:t>
            </a:r>
            <a:r>
              <a:rPr lang="en-US" sz="2000" cap="none" spc="50" dirty="0">
                <a:cs typeface="Calibri"/>
              </a:rPr>
              <a:t>Reduce </a:t>
            </a:r>
            <a:r>
              <a:rPr lang="en-US" sz="2000" cap="none" spc="50" dirty="0" smtClean="0">
                <a:cs typeface="Calibri"/>
              </a:rPr>
              <a:t>land </a:t>
            </a:r>
            <a:r>
              <a:rPr lang="en-US" sz="2000" cap="none" spc="50" dirty="0">
                <a:cs typeface="Calibri"/>
              </a:rPr>
              <a:t>loss in the Calcasieu Sabine Basin</a:t>
            </a:r>
          </a:p>
          <a:p>
            <a:pPr lvl="3"/>
            <a:endParaRPr lang="en-US" sz="200" dirty="0">
              <a:cs typeface="Calibri" panose="020F0502020204030204" pitchFamily="34" charset="0"/>
            </a:endParaRPr>
          </a:p>
          <a:p>
            <a:pPr lvl="3"/>
            <a:r>
              <a:rPr lang="en-US" sz="2000" dirty="0">
                <a:cs typeface="Calibri"/>
              </a:rPr>
              <a:t>Project Objectives</a:t>
            </a:r>
          </a:p>
          <a:p>
            <a:pPr lvl="1"/>
            <a:r>
              <a:rPr lang="en-US" dirty="0">
                <a:cs typeface="Calibri"/>
              </a:rPr>
              <a:t>Reduce marsh stress from flood inundation through: </a:t>
            </a:r>
            <a:endParaRPr lang="en-US" dirty="0">
              <a:cs typeface="Calibri" panose="020F0502020204030204" pitchFamily="34" charset="0"/>
            </a:endParaRPr>
          </a:p>
          <a:p>
            <a:pPr lvl="2"/>
            <a:r>
              <a:rPr lang="en-US" dirty="0">
                <a:cs typeface="Calibri"/>
              </a:rPr>
              <a:t>Improved </a:t>
            </a:r>
            <a:r>
              <a:rPr lang="en-US" dirty="0" smtClean="0">
                <a:cs typeface="Calibri"/>
              </a:rPr>
              <a:t>marsh drainage</a:t>
            </a:r>
            <a:r>
              <a:rPr lang="en-US" dirty="0">
                <a:cs typeface="Calibri"/>
              </a:rPr>
              <a:t> </a:t>
            </a:r>
            <a:r>
              <a:rPr lang="en-US" dirty="0" smtClean="0">
                <a:cs typeface="Calibri"/>
              </a:rPr>
              <a:t>into Calcasieu Lake</a:t>
            </a:r>
            <a:endParaRPr lang="en-US" dirty="0">
              <a:cs typeface="Calibri"/>
            </a:endParaRPr>
          </a:p>
          <a:p>
            <a:pPr lvl="2"/>
            <a:r>
              <a:rPr lang="en-US" dirty="0" smtClean="0">
                <a:cs typeface="Calibri"/>
              </a:rPr>
              <a:t>Increased </a:t>
            </a:r>
            <a:r>
              <a:rPr lang="en-US" dirty="0">
                <a:cs typeface="Calibri"/>
              </a:rPr>
              <a:t>elevation </a:t>
            </a:r>
            <a:r>
              <a:rPr lang="en-US" dirty="0" smtClean="0">
                <a:cs typeface="Calibri"/>
              </a:rPr>
              <a:t>capital with dredged sediment</a:t>
            </a:r>
            <a:endParaRPr lang="en-US" dirty="0">
              <a:cs typeface="Calibri"/>
            </a:endParaRPr>
          </a:p>
          <a:p>
            <a:pPr lvl="1"/>
            <a:r>
              <a:rPr lang="en-US" dirty="0">
                <a:cs typeface="Calibri"/>
              </a:rPr>
              <a:t>Maintain marsh salinity levels achieved through existing CCW management practices </a:t>
            </a:r>
          </a:p>
          <a:p>
            <a:pPr marL="0" lvl="1" indent="0">
              <a:buNone/>
            </a:pPr>
            <a:endParaRPr lang="en-US" sz="800" dirty="0">
              <a:cs typeface="Calibri" panose="020F0502020204030204" pitchFamily="34" charset="0"/>
            </a:endParaRP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0" indent="0">
              <a:spcAft>
                <a:spcPct val="0"/>
              </a:spcAft>
              <a:buNone/>
            </a:pPr>
            <a:endParaRPr lang="en-US" sz="2000" dirty="0">
              <a:cs typeface="Arial"/>
            </a:endParaRPr>
          </a:p>
        </p:txBody>
      </p:sp>
      <p:pic>
        <p:nvPicPr>
          <p:cNvPr id="7" name="Picture 7" descr="Map&#10;&#10;Description automatically generated">
            <a:extLst>
              <a:ext uri="{FF2B5EF4-FFF2-40B4-BE49-F238E27FC236}">
                <a16:creationId xmlns:a16="http://schemas.microsoft.com/office/drawing/2014/main" id="{0F823E98-43D0-9FF2-DC30-241CFB2893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6928" y="1106970"/>
            <a:ext cx="5717872" cy="529140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134691" y="726841"/>
            <a:ext cx="54823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Cameron Creole Watershed Land Loss, 1932 to 2016</a:t>
            </a:r>
            <a:endParaRPr lang="en-US" b="1" dirty="0"/>
          </a:p>
        </p:txBody>
      </p:sp>
      <p:sp>
        <p:nvSpPr>
          <p:cNvPr id="6" name="TextBox 5"/>
          <p:cNvSpPr txBox="1"/>
          <p:nvPr/>
        </p:nvSpPr>
        <p:spPr>
          <a:xfrm>
            <a:off x="9642430" y="4407154"/>
            <a:ext cx="2351218" cy="147732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u="sng" dirty="0" smtClean="0"/>
              <a:t>Land Loss Timing</a:t>
            </a:r>
          </a:p>
          <a:p>
            <a:pPr algn="ctr"/>
            <a:r>
              <a:rPr lang="en-US" dirty="0" smtClean="0"/>
              <a:t>Reds: 1932-1975</a:t>
            </a:r>
          </a:p>
          <a:p>
            <a:pPr algn="ctr"/>
            <a:r>
              <a:rPr lang="en-US" dirty="0" smtClean="0"/>
              <a:t>Oranges: 1975-1995</a:t>
            </a:r>
          </a:p>
          <a:p>
            <a:pPr algn="ctr"/>
            <a:r>
              <a:rPr lang="en-US" dirty="0" smtClean="0"/>
              <a:t>Blues: 1995-2008</a:t>
            </a:r>
          </a:p>
          <a:p>
            <a:pPr algn="ctr"/>
            <a:r>
              <a:rPr lang="en-US" dirty="0" smtClean="0"/>
              <a:t>Purples: 2008-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288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9379D123-26A0-472E-8CC0-D13E806268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187" y="207625"/>
            <a:ext cx="3918810" cy="1200329"/>
          </a:xfrm>
        </p:spPr>
        <p:txBody>
          <a:bodyPr/>
          <a:lstStyle/>
          <a:p>
            <a:r>
              <a:rPr lang="en-US" sz="4800"/>
              <a:t>Project Features</a:t>
            </a:r>
            <a:endParaRPr lang="en-US" sz="4800">
              <a:solidFill>
                <a:schemeClr val="tx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05D48A7-0F52-2C21-8950-0E6D9A9665B3}"/>
              </a:ext>
            </a:extLst>
          </p:cNvPr>
          <p:cNvSpPr txBox="1">
            <a:spLocks/>
          </p:cNvSpPr>
          <p:nvPr/>
        </p:nvSpPr>
        <p:spPr>
          <a:xfrm>
            <a:off x="351977" y="1317861"/>
            <a:ext cx="4016221" cy="5216813"/>
          </a:xfrm>
          <a:prstGeom prst="rect">
            <a:avLst/>
          </a:prstGeom>
        </p:spPr>
        <p:txBody>
          <a:bodyPr vert="horz" wrap="square" lIns="0" tIns="0" rIns="0" bIns="45720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0" i="0" kern="1200" cap="none" spc="0" normalizeH="0" baseline="0">
                <a:solidFill>
                  <a:schemeClr val="accent1"/>
                </a:solidFill>
                <a:latin typeface="Franklin Gothic Medium Cond" panose="020B0606030402020204" pitchFamily="34" charset="0"/>
                <a:ea typeface="+mj-ea"/>
                <a:cs typeface="+mj-cs"/>
              </a:defRPr>
            </a:lvl1pPr>
          </a:lstStyle>
          <a:p>
            <a:pPr>
              <a:spcBef>
                <a:spcPts val="1200"/>
              </a:spcBef>
            </a:pPr>
            <a:r>
              <a:rPr lang="en-US" sz="2400" b="1" spc="5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ke Rim Draina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1800" spc="50" dirty="0">
                <a:solidFill>
                  <a:schemeClr val="tx1"/>
                </a:solidFill>
                <a:latin typeface="+mn-lt"/>
                <a:ea typeface="+mn-lt"/>
                <a:cs typeface="+mn-lt"/>
              </a:rPr>
              <a:t>Seven (7) proposed gravity drainage structures with backflow prevention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100" spc="50" dirty="0">
              <a:solidFill>
                <a:schemeClr val="tx1"/>
              </a:solidFill>
              <a:latin typeface="+mn-lt"/>
              <a:ea typeface="+mn-lt"/>
              <a:cs typeface="+mn-lt"/>
            </a:endParaRPr>
          </a:p>
          <a:p>
            <a:pPr marL="0" lvl="1" defTabSz="914400">
              <a:spcBef>
                <a:spcPts val="1200"/>
              </a:spcBef>
            </a:pPr>
            <a:r>
              <a:rPr lang="en-US" sz="2400" b="1" spc="50" dirty="0"/>
              <a:t>Conveyan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1800" spc="50" dirty="0">
                <a:solidFill>
                  <a:schemeClr val="tx1"/>
                </a:solidFill>
                <a:latin typeface="+mn-lt"/>
                <a:ea typeface="+mn-lt"/>
                <a:cs typeface="+mn-lt"/>
              </a:rPr>
              <a:t>Up to 18 miles of channel improvements</a:t>
            </a:r>
          </a:p>
          <a:p>
            <a:pPr marL="571500" lvl="1" indent="-342900" defTabSz="9144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spc="50" dirty="0">
                <a:ea typeface="+mn-lt"/>
                <a:cs typeface="+mn-lt"/>
              </a:rPr>
              <a:t>Improve drainage from back of the marsh to the Lake Rim</a:t>
            </a:r>
          </a:p>
          <a:p>
            <a:pPr marL="0" lvl="1" defTabSz="914400">
              <a:spcBef>
                <a:spcPts val="1200"/>
              </a:spcBef>
            </a:pPr>
            <a:r>
              <a:rPr lang="en-US" sz="2400" b="1" spc="50" dirty="0" smtClean="0"/>
              <a:t>Marsh </a:t>
            </a:r>
            <a:r>
              <a:rPr lang="en-US" sz="2400" b="1" spc="50" dirty="0"/>
              <a:t>Creation</a:t>
            </a:r>
          </a:p>
          <a:p>
            <a:pPr lvl="1" indent="-457200" defTabSz="9144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pc="50" dirty="0">
                <a:ea typeface="+mn-lt"/>
                <a:cs typeface="+mn-lt"/>
              </a:rPr>
              <a:t>Over 3,000 of 7,000 shown acres to be built through CS-87</a:t>
            </a:r>
          </a:p>
          <a:p>
            <a:pPr marL="571500" lvl="1" indent="-342900" defTabSz="9144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spc="50" dirty="0">
                <a:ea typeface="+mn-lt"/>
                <a:cs typeface="+mn-lt"/>
              </a:rPr>
              <a:t>Using dredged material from </a:t>
            </a:r>
            <a:r>
              <a:rPr lang="en-US" sz="1600" spc="50" dirty="0" smtClean="0">
                <a:ea typeface="+mn-lt"/>
                <a:cs typeface="+mn-lt"/>
              </a:rPr>
              <a:t>channel </a:t>
            </a:r>
            <a:r>
              <a:rPr lang="en-US" sz="1600" spc="50" dirty="0">
                <a:ea typeface="+mn-lt"/>
                <a:cs typeface="+mn-lt"/>
              </a:rPr>
              <a:t>improvements, CSC, and </a:t>
            </a:r>
            <a:r>
              <a:rPr lang="en-US" sz="1600" spc="50" dirty="0" smtClean="0">
                <a:ea typeface="+mn-lt"/>
                <a:cs typeface="+mn-lt"/>
              </a:rPr>
              <a:t>the Gulf of Mexico</a:t>
            </a:r>
            <a:endParaRPr lang="en-US" sz="1600" spc="50" dirty="0">
              <a:ea typeface="+mn-lt"/>
              <a:cs typeface="+mn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9219" y="522022"/>
            <a:ext cx="6987823" cy="5563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434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AF992F4-8F53-A668-9FEA-45D2DCF17B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0067" y="925813"/>
            <a:ext cx="5996535" cy="4251224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9379D123-26A0-472E-8CC0-D13E806268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860" y="169926"/>
            <a:ext cx="11713403" cy="1292662"/>
          </a:xfrm>
        </p:spPr>
        <p:txBody>
          <a:bodyPr/>
          <a:lstStyle/>
          <a:p>
            <a:r>
              <a:rPr lang="en-US" dirty="0" smtClean="0"/>
              <a:t>Project </a:t>
            </a:r>
            <a:r>
              <a:rPr lang="en-US" dirty="0"/>
              <a:t>Benefits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347354-9C9F-8428-057D-631E0AA4EB16}"/>
              </a:ext>
            </a:extLst>
          </p:cNvPr>
          <p:cNvSpPr txBox="1">
            <a:spLocks/>
          </p:cNvSpPr>
          <p:nvPr/>
        </p:nvSpPr>
        <p:spPr>
          <a:xfrm>
            <a:off x="386860" y="1722905"/>
            <a:ext cx="4645910" cy="3539430"/>
          </a:xfrm>
          <a:prstGeom prst="rect">
            <a:avLst/>
          </a:prstGeom>
        </p:spPr>
        <p:txBody>
          <a:bodyPr vert="horz" wrap="square" lIns="0" tIns="0" rIns="0" bIns="45720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0" i="0" kern="1200" cap="none" spc="0" normalizeH="0" baseline="0">
                <a:solidFill>
                  <a:schemeClr val="accent1"/>
                </a:solidFill>
                <a:latin typeface="Franklin Gothic Medium Cond" panose="020B0606030402020204" pitchFamily="34" charset="0"/>
                <a:ea typeface="+mj-ea"/>
                <a:cs typeface="+mj-cs"/>
              </a:defRPr>
            </a:lvl1pPr>
          </a:lstStyle>
          <a:p>
            <a:pPr lvl="1" indent="-4572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2000" spc="50" dirty="0">
                <a:ea typeface="+mn-lt"/>
                <a:cs typeface="+mn-lt"/>
              </a:rPr>
              <a:t>Water level reductions in the </a:t>
            </a:r>
            <a:r>
              <a:rPr lang="en-US" sz="2000" spc="50" dirty="0" smtClean="0">
                <a:ea typeface="+mn-lt"/>
                <a:cs typeface="+mn-lt"/>
              </a:rPr>
              <a:t>marsh</a:t>
            </a:r>
          </a:p>
          <a:p>
            <a:pPr lvl="2" indent="-4572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2000" spc="50" dirty="0" smtClean="0">
                <a:ea typeface="+mn-lt"/>
                <a:cs typeface="+mn-lt"/>
              </a:rPr>
              <a:t>Average </a:t>
            </a:r>
            <a:r>
              <a:rPr lang="en-US" sz="2000" spc="50" dirty="0">
                <a:ea typeface="+mn-lt"/>
                <a:cs typeface="+mn-lt"/>
              </a:rPr>
              <a:t>1.9 inches </a:t>
            </a:r>
            <a:endParaRPr lang="en-US" sz="2000" spc="50" dirty="0" smtClean="0">
              <a:ea typeface="+mn-lt"/>
              <a:cs typeface="+mn-lt"/>
            </a:endParaRPr>
          </a:p>
          <a:p>
            <a:pPr lvl="2" indent="-4572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2000" spc="50" dirty="0" smtClean="0">
                <a:ea typeface="+mn-lt"/>
                <a:cs typeface="+mn-lt"/>
              </a:rPr>
              <a:t>Peak reduction of 17 </a:t>
            </a:r>
            <a:r>
              <a:rPr lang="en-US" sz="2000" spc="50" dirty="0">
                <a:ea typeface="+mn-lt"/>
                <a:cs typeface="+mn-lt"/>
              </a:rPr>
              <a:t>inches after a high-water event</a:t>
            </a:r>
          </a:p>
          <a:p>
            <a:pPr lvl="1" indent="-45720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sz="2000" spc="50" dirty="0" smtClean="0">
              <a:ea typeface="+mn-lt"/>
              <a:cs typeface="+mn-lt"/>
            </a:endParaRPr>
          </a:p>
          <a:p>
            <a:pPr lvl="1" indent="-45720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sz="2000" spc="50" dirty="0">
              <a:ea typeface="+mn-lt"/>
              <a:cs typeface="+mn-lt"/>
            </a:endParaRPr>
          </a:p>
          <a:p>
            <a:pPr lvl="1" indent="-4572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2000" spc="50" dirty="0" smtClean="0">
                <a:ea typeface="+mn-lt"/>
                <a:cs typeface="+mn-lt"/>
              </a:rPr>
              <a:t>Increased </a:t>
            </a:r>
            <a:r>
              <a:rPr lang="en-US" sz="2000" spc="50" dirty="0">
                <a:ea typeface="+mn-lt"/>
                <a:cs typeface="+mn-lt"/>
              </a:rPr>
              <a:t>total </a:t>
            </a:r>
            <a:r>
              <a:rPr lang="en-US" sz="2000" spc="50" dirty="0" smtClean="0">
                <a:ea typeface="+mn-lt"/>
                <a:cs typeface="+mn-lt"/>
              </a:rPr>
              <a:t>marsh area not under flood stress by 6,300 (2020) – 9,100 (2018) acres 50% of the time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624926" y="5177037"/>
            <a:ext cx="578167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Hourly Area Below Upper Target Water </a:t>
            </a:r>
            <a:r>
              <a:rPr lang="en-US" b="1" dirty="0" smtClean="0"/>
              <a:t>Level </a:t>
            </a:r>
          </a:p>
          <a:p>
            <a:pPr algn="ctr"/>
            <a:r>
              <a:rPr lang="en-US" b="1" dirty="0" smtClean="0"/>
              <a:t>Change from Existing Conditions</a:t>
            </a:r>
            <a:r>
              <a:rPr lang="en-US" dirty="0" smtClean="0"/>
              <a:t> </a:t>
            </a:r>
          </a:p>
          <a:p>
            <a:pPr algn="ctr"/>
            <a:r>
              <a:rPr lang="en-US" sz="1400" dirty="0" smtClean="0"/>
              <a:t>The </a:t>
            </a:r>
            <a:r>
              <a:rPr lang="en-US" sz="1400" dirty="0"/>
              <a:t>box represents 25th, </a:t>
            </a:r>
            <a:r>
              <a:rPr lang="en-US" sz="1400" dirty="0" smtClean="0"/>
              <a:t>median, </a:t>
            </a:r>
            <a:r>
              <a:rPr lang="en-US" sz="1400" dirty="0"/>
              <a:t>and 75th percentile values and whiskers represent 5th and 95th percentile limits. </a:t>
            </a:r>
          </a:p>
        </p:txBody>
      </p:sp>
      <p:sp>
        <p:nvSpPr>
          <p:cNvPr id="6" name="Down Arrow 5"/>
          <p:cNvSpPr/>
          <p:nvPr/>
        </p:nvSpPr>
        <p:spPr>
          <a:xfrm>
            <a:off x="247523" y="1731614"/>
            <a:ext cx="475289" cy="1185759"/>
          </a:xfrm>
          <a:prstGeom prst="downArrow">
            <a:avLst/>
          </a:prstGeom>
          <a:gradFill flip="none" rotWithShape="1">
            <a:gsLst>
              <a:gs pos="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100000">
                <a:schemeClr val="accent6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Down Arrow 9"/>
          <p:cNvSpPr/>
          <p:nvPr/>
        </p:nvSpPr>
        <p:spPr>
          <a:xfrm rot="10800000">
            <a:off x="247523" y="3582189"/>
            <a:ext cx="475289" cy="1185759"/>
          </a:xfrm>
          <a:prstGeom prst="downArrow">
            <a:avLst/>
          </a:prstGeom>
          <a:gradFill flip="none" rotWithShape="1">
            <a:gsLst>
              <a:gs pos="0">
                <a:schemeClr val="accent6">
                  <a:tint val="66000"/>
                  <a:satMod val="160000"/>
                </a:schemeClr>
              </a:gs>
              <a:gs pos="50000">
                <a:schemeClr val="accent6">
                  <a:tint val="44500"/>
                  <a:satMod val="160000"/>
                </a:schemeClr>
              </a:gs>
              <a:gs pos="100000">
                <a:schemeClr val="accent6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086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ulti-Program Synerg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57200" y="1249667"/>
            <a:ext cx="4946073" cy="4842962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dirty="0" smtClean="0">
                <a:ea typeface="+mn-lt"/>
                <a:cs typeface="+mn-lt"/>
              </a:rPr>
              <a:t>Selected alternative provides a cohesive </a:t>
            </a:r>
            <a:r>
              <a:rPr lang="en-US" dirty="0">
                <a:ea typeface="+mn-lt"/>
                <a:cs typeface="+mn-lt"/>
              </a:rPr>
              <a:t>Cameron Creole </a:t>
            </a:r>
            <a:r>
              <a:rPr lang="en-US" dirty="0" smtClean="0">
                <a:ea typeface="+mn-lt"/>
                <a:cs typeface="+mn-lt"/>
              </a:rPr>
              <a:t>Watershed restoration framework other </a:t>
            </a:r>
            <a:r>
              <a:rPr lang="en-US" dirty="0">
                <a:ea typeface="+mn-lt"/>
                <a:cs typeface="+mn-lt"/>
              </a:rPr>
              <a:t>programs can </a:t>
            </a:r>
            <a:r>
              <a:rPr lang="en-US" dirty="0" smtClean="0">
                <a:ea typeface="+mn-lt"/>
                <a:cs typeface="+mn-lt"/>
              </a:rPr>
              <a:t>complement</a:t>
            </a:r>
            <a:endParaRPr lang="en-US" dirty="0">
              <a:ea typeface="+mn-lt"/>
              <a:cs typeface="+mn-lt"/>
            </a:endParaRPr>
          </a:p>
          <a:p>
            <a:pPr>
              <a:spcBef>
                <a:spcPct val="0"/>
              </a:spcBef>
            </a:pPr>
            <a:endParaRPr lang="en-US" dirty="0" smtClean="0">
              <a:ea typeface="+mn-lt"/>
              <a:cs typeface="+mn-lt"/>
            </a:endParaRPr>
          </a:p>
          <a:p>
            <a:pPr>
              <a:spcBef>
                <a:spcPct val="0"/>
              </a:spcBef>
            </a:pPr>
            <a:r>
              <a:rPr lang="en-US" b="1" dirty="0"/>
              <a:t>USACE Beneficial Use of Dredged Material (BUDMAT) Program </a:t>
            </a:r>
          </a:p>
          <a:p>
            <a:pPr marL="514350" indent="-285750" defTabSz="4572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600 to 1,200 acres</a:t>
            </a:r>
          </a:p>
          <a:p>
            <a:pPr marL="514350" indent="-285750" defTabSz="4572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ea typeface="+mn-lt"/>
                <a:cs typeface="+mn-lt"/>
              </a:rPr>
              <a:t>Est. construction in FY26 or FY28</a:t>
            </a:r>
          </a:p>
          <a:p>
            <a:pPr marL="514350" indent="-285750" defTabSz="4572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Reduces CPRA’s cost per acre by ~80-90</a:t>
            </a:r>
            <a:r>
              <a:rPr lang="en-US" sz="1800" dirty="0" smtClean="0"/>
              <a:t>%</a:t>
            </a:r>
          </a:p>
          <a:p>
            <a:pPr marL="514350" indent="-285750" defTabSz="4572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800" dirty="0" smtClean="0">
                <a:ea typeface="+mn-lt"/>
                <a:cs typeface="+mn-lt"/>
              </a:rPr>
              <a:t>Establishes sediment conveyance corridor across Calcasieu Lake for use by future projects</a:t>
            </a:r>
            <a:endParaRPr lang="en-US" sz="1800" dirty="0">
              <a:ea typeface="+mn-lt"/>
              <a:cs typeface="+mn-lt"/>
            </a:endParaRPr>
          </a:p>
          <a:p>
            <a:pPr marL="457200" lvl="1" indent="0" defTabSz="457200">
              <a:spcBef>
                <a:spcPct val="0"/>
              </a:spcBef>
              <a:buNone/>
            </a:pPr>
            <a:endParaRPr lang="en-US" dirty="0">
              <a:ea typeface="+mn-lt"/>
              <a:cs typeface="+mn-lt"/>
            </a:endParaRPr>
          </a:p>
          <a:p>
            <a:pPr>
              <a:spcBef>
                <a:spcPct val="0"/>
              </a:spcBef>
            </a:pPr>
            <a:r>
              <a:rPr lang="en-US" b="1" dirty="0" smtClean="0">
                <a:ea typeface="+mn-lt"/>
                <a:cs typeface="+mn-lt"/>
              </a:rPr>
              <a:t>Mitigation and other Beneficial Placement Opportunities</a:t>
            </a:r>
          </a:p>
          <a:p>
            <a:pPr marL="514350" indent="-285750" defTabSz="4572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800" dirty="0" smtClean="0">
                <a:ea typeface="+mn-lt"/>
                <a:cs typeface="+mn-lt"/>
              </a:rPr>
              <a:t>Ensure </a:t>
            </a:r>
            <a:r>
              <a:rPr lang="en-US" sz="1800" dirty="0">
                <a:ea typeface="+mn-lt"/>
                <a:cs typeface="+mn-lt"/>
              </a:rPr>
              <a:t>any spoil placed </a:t>
            </a:r>
            <a:r>
              <a:rPr lang="en-US" sz="1800" dirty="0" smtClean="0">
                <a:ea typeface="+mn-lt"/>
                <a:cs typeface="+mn-lt"/>
              </a:rPr>
              <a:t>in </a:t>
            </a:r>
            <a:r>
              <a:rPr lang="en-US" sz="1800" dirty="0">
                <a:ea typeface="+mn-lt"/>
                <a:cs typeface="+mn-lt"/>
              </a:rPr>
              <a:t>Cameron Creole allows drainage to CS-87 structures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0946" y="1184352"/>
            <a:ext cx="6461965" cy="545785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9067800" y="2351315"/>
            <a:ext cx="2383971" cy="5878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tial CS-87 BUDMAT Focus Area</a:t>
            </a:r>
            <a:endParaRPr lang="en-US" sz="1500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2106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ulti-Program Synerg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57200" y="1405434"/>
            <a:ext cx="9277927" cy="2288521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b="1" dirty="0" smtClean="0">
                <a:ea typeface="+mn-lt"/>
                <a:cs typeface="+mn-lt"/>
              </a:rPr>
              <a:t>CWPPRA and Ducks Unlimited Project Synergies</a:t>
            </a:r>
          </a:p>
          <a:p>
            <a:pPr marL="514350" indent="-285750" defTabSz="4572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ea typeface="+mn-lt"/>
                <a:cs typeface="+mn-lt"/>
              </a:rPr>
              <a:t>Enhanced performance of Cameron Creole Freshwater Introduction Project (CS-49) </a:t>
            </a:r>
            <a:endParaRPr lang="en-US" sz="1800" dirty="0" smtClean="0">
              <a:ea typeface="+mn-lt"/>
              <a:cs typeface="+mn-lt"/>
            </a:endParaRPr>
          </a:p>
          <a:p>
            <a:pPr marL="514350" indent="-285750" defTabSz="4572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800" dirty="0" smtClean="0">
                <a:ea typeface="+mn-lt"/>
                <a:cs typeface="+mn-lt"/>
              </a:rPr>
              <a:t>Extends lifespan of constructed projects</a:t>
            </a:r>
          </a:p>
          <a:p>
            <a:pPr marL="514350" indent="-285750" defTabSz="4572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800" dirty="0" smtClean="0">
                <a:ea typeface="+mn-lt"/>
                <a:cs typeface="+mn-lt"/>
              </a:rPr>
              <a:t>Enables integration of future projects with watershed drainage framework</a:t>
            </a:r>
          </a:p>
          <a:p>
            <a:pPr marL="914400" lvl="1" indent="-457200" defTabSz="457200">
              <a:spcBef>
                <a:spcPct val="0"/>
              </a:spcBef>
              <a:buFont typeface="Courier New" panose="02070309020205020404" pitchFamily="49" charset="0"/>
              <a:buChar char="o"/>
            </a:pPr>
            <a:endParaRPr lang="en-US" dirty="0">
              <a:ea typeface="+mn-lt"/>
              <a:cs typeface="+mn-lt"/>
            </a:endParaRPr>
          </a:p>
        </p:txBody>
      </p:sp>
      <p:pic>
        <p:nvPicPr>
          <p:cNvPr id="6146" name="Picture 3" descr="image00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654" y="2868968"/>
            <a:ext cx="5693504" cy="318084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7" name="Picture 2" descr="image00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3831" y="2854194"/>
            <a:ext cx="5693504" cy="319561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983151" y="6031344"/>
            <a:ext cx="2364509" cy="378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Existing Condition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210220" y="6040703"/>
            <a:ext cx="37407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With Project Drainage Structur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1343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F47212-9326-A14E-9346-DDC2C478C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Franklin Gothic Medium Cond"/>
              </a:rPr>
              <a:t>Four Project Tracks for Efficiency</a:t>
            </a:r>
            <a:endParaRPr lang="en-US" dirty="0"/>
          </a:p>
        </p:txBody>
      </p:sp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8AF9AE6A-D0E8-4965-B54E-9374AE8B884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9951420"/>
              </p:ext>
            </p:extLst>
          </p:nvPr>
        </p:nvGraphicFramePr>
        <p:xfrm>
          <a:off x="838200" y="1999361"/>
          <a:ext cx="10744199" cy="286512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213083">
                  <a:extLst>
                    <a:ext uri="{9D8B030D-6E8A-4147-A177-3AD203B41FA5}">
                      <a16:colId xmlns:a16="http://schemas.microsoft.com/office/drawing/2014/main" val="4218646208"/>
                    </a:ext>
                  </a:extLst>
                </a:gridCol>
                <a:gridCol w="1917881">
                  <a:extLst>
                    <a:ext uri="{9D8B030D-6E8A-4147-A177-3AD203B41FA5}">
                      <a16:colId xmlns:a16="http://schemas.microsoft.com/office/drawing/2014/main" val="4185480586"/>
                    </a:ext>
                  </a:extLst>
                </a:gridCol>
                <a:gridCol w="2567709">
                  <a:extLst>
                    <a:ext uri="{9D8B030D-6E8A-4147-A177-3AD203B41FA5}">
                      <a16:colId xmlns:a16="http://schemas.microsoft.com/office/drawing/2014/main" val="1561545689"/>
                    </a:ext>
                  </a:extLst>
                </a:gridCol>
                <a:gridCol w="1957623">
                  <a:extLst>
                    <a:ext uri="{9D8B030D-6E8A-4147-A177-3AD203B41FA5}">
                      <a16:colId xmlns:a16="http://schemas.microsoft.com/office/drawing/2014/main" val="2852776106"/>
                    </a:ext>
                  </a:extLst>
                </a:gridCol>
                <a:gridCol w="2087903">
                  <a:extLst>
                    <a:ext uri="{9D8B030D-6E8A-4147-A177-3AD203B41FA5}">
                      <a16:colId xmlns:a16="http://schemas.microsoft.com/office/drawing/2014/main" val="374736691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Milest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Lake-Rim Drain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MC/N with Conveyance Channel Borrow</a:t>
                      </a:r>
                      <a:endParaRPr lang="en-US" baseline="30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C/N with </a:t>
                      </a:r>
                      <a:r>
                        <a:rPr lang="en-US" dirty="0" smtClean="0"/>
                        <a:t>Nearshore Borrow</a:t>
                      </a:r>
                      <a:endParaRPr lang="en-US" baseline="30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C/N with BUDMAT</a:t>
                      </a:r>
                      <a:endParaRPr lang="en-US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80837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Design Optimiz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July 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/>
                        <a:t>July 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July 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10191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15% Desig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Mid 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Late 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Franklin Gothic Book"/>
                        </a:rPr>
                        <a:t>Early 202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89963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JPA Submit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id </a:t>
                      </a:r>
                      <a:r>
                        <a:rPr lang="en-US" dirty="0" smtClean="0"/>
                        <a:t>202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Mid - Late 2023</a:t>
                      </a:r>
                      <a:endParaRPr lang="en-US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dirty="0"/>
                        <a:t>Mid 2024</a:t>
                      </a:r>
                      <a:endParaRPr lang="en-US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 i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92323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30% Desig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Late 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Early 2024</a:t>
                      </a:r>
                      <a:endParaRPr lang="en-US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id 2024</a:t>
                      </a:r>
                      <a:endParaRPr lang="en-US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i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75478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90% Desig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Mid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Late 2024</a:t>
                      </a:r>
                      <a:endParaRPr lang="en-US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arly 2025</a:t>
                      </a:r>
                      <a:endParaRPr lang="en-US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i="0" dirty="0" smtClean="0"/>
                        <a:t>2024</a:t>
                      </a:r>
                      <a:endParaRPr lang="en-US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51951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Advertise</a:t>
                      </a:r>
                      <a:r>
                        <a:rPr lang="en-US" baseline="0"/>
                        <a:t> for Bids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id/Late </a:t>
                      </a:r>
                      <a:r>
                        <a:rPr lang="en-US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Early 2025</a:t>
                      </a:r>
                      <a:endParaRPr lang="en-US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id 2025</a:t>
                      </a:r>
                      <a:endParaRPr lang="en-US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i="0" dirty="0" smtClean="0"/>
                        <a:t>Fed FY 26 or FY 28</a:t>
                      </a:r>
                      <a:endParaRPr lang="en-US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8212525"/>
                  </a:ext>
                </a:extLst>
              </a:tr>
            </a:tbl>
          </a:graphicData>
        </a:graphic>
      </p:graphicFrame>
      <p:sp>
        <p:nvSpPr>
          <p:cNvPr id="3" name="Star: 5 Points 2">
            <a:extLst>
              <a:ext uri="{FF2B5EF4-FFF2-40B4-BE49-F238E27FC236}">
                <a16:creationId xmlns:a16="http://schemas.microsoft.com/office/drawing/2014/main" id="{8EDC4E7E-AA76-422D-ADBC-4B2A292827B4}"/>
              </a:ext>
            </a:extLst>
          </p:cNvPr>
          <p:cNvSpPr/>
          <p:nvPr/>
        </p:nvSpPr>
        <p:spPr>
          <a:xfrm>
            <a:off x="458310" y="2972621"/>
            <a:ext cx="341790" cy="380245"/>
          </a:xfrm>
          <a:prstGeom prst="star5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A068F6BF-8561-4E76-937C-4C68FB0E4D20}"/>
              </a:ext>
            </a:extLst>
          </p:cNvPr>
          <p:cNvSpPr/>
          <p:nvPr/>
        </p:nvSpPr>
        <p:spPr>
          <a:xfrm>
            <a:off x="589377" y="5243145"/>
            <a:ext cx="424004" cy="380245"/>
          </a:xfrm>
          <a:prstGeom prst="star5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269175-18BE-46A6-98B0-26557583F8C5}"/>
              </a:ext>
            </a:extLst>
          </p:cNvPr>
          <p:cNvSpPr txBox="1"/>
          <p:nvPr/>
        </p:nvSpPr>
        <p:spPr>
          <a:xfrm>
            <a:off x="1007340" y="5301683"/>
            <a:ext cx="3086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Current Project Phase </a:t>
            </a:r>
          </a:p>
        </p:txBody>
      </p:sp>
    </p:spTree>
    <p:extLst>
      <p:ext uri="{BB962C8B-B14F-4D97-AF65-F5344CB8AC3E}">
        <p14:creationId xmlns:p14="http://schemas.microsoft.com/office/powerpoint/2010/main" val="510325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2_Custom Design">
  <a:themeElements>
    <a:clrScheme name="Diversions">
      <a:dk1>
        <a:srgbClr val="000000"/>
      </a:dk1>
      <a:lt1>
        <a:srgbClr val="FFFFFF"/>
      </a:lt1>
      <a:dk2>
        <a:srgbClr val="003F4C"/>
      </a:dk2>
      <a:lt2>
        <a:srgbClr val="E9EAE9"/>
      </a:lt2>
      <a:accent1>
        <a:srgbClr val="00A8C8"/>
      </a:accent1>
      <a:accent2>
        <a:srgbClr val="66C9DD"/>
      </a:accent2>
      <a:accent3>
        <a:srgbClr val="559543"/>
      </a:accent3>
      <a:accent4>
        <a:srgbClr val="6CBE63"/>
      </a:accent4>
      <a:accent5>
        <a:srgbClr val="AADDEB"/>
      </a:accent5>
      <a:accent6>
        <a:srgbClr val="00849D"/>
      </a:accent6>
      <a:hlink>
        <a:srgbClr val="00A8C8"/>
      </a:hlink>
      <a:folHlink>
        <a:srgbClr val="00A8C8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PRA_Presentation" id="{C33B572F-01F2-F541-A265-75D4B1EF6B36}" vid="{1DAE35B6-4BC0-2949-83F0-8DC3E9B7139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A455F26A-6A9E-2549-A001-745CB5F6448F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D50161B5FDEFE4D93782C83BE2D3F6B" ma:contentTypeVersion="15" ma:contentTypeDescription="Create a new document." ma:contentTypeScope="" ma:versionID="25ff3375780c62d2bf99a1a85d2a0010">
  <xsd:schema xmlns:xsd="http://www.w3.org/2001/XMLSchema" xmlns:xs="http://www.w3.org/2001/XMLSchema" xmlns:p="http://schemas.microsoft.com/office/2006/metadata/properties" xmlns:ns2="f9cdf958-c761-4ab7-b699-47f4a2fffd8c" xmlns:ns3="873eca05-9823-42f0-ac11-9671edb44624" targetNamespace="http://schemas.microsoft.com/office/2006/metadata/properties" ma:root="true" ma:fieldsID="50acb86161ee40fd9cf51b5af564bb36" ns2:_="" ns3:_="">
    <xsd:import namespace="f9cdf958-c761-4ab7-b699-47f4a2fffd8c"/>
    <xsd:import namespace="873eca05-9823-42f0-ac11-9671edb4462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cdf958-c761-4ab7-b699-47f4a2fffd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8f026ab4-a029-4d83-a64f-0bca448a5c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3eca05-9823-42f0-ac11-9671edb44624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cb7fdc2-7b89-4a33-a3e4-1dea575b2172}" ma:internalName="TaxCatchAll" ma:showField="CatchAllData" ma:web="873eca05-9823-42f0-ac11-9671edb4462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73eca05-9823-42f0-ac11-9671edb44624" xsi:nil="true"/>
    <lcf76f155ced4ddcb4097134ff3c332f xmlns="f9cdf958-c761-4ab7-b699-47f4a2fffd8c">
      <Terms xmlns="http://schemas.microsoft.com/office/infopath/2007/PartnerControls"/>
    </lcf76f155ced4ddcb4097134ff3c332f>
    <SharedWithUsers xmlns="873eca05-9823-42f0-ac11-9671edb44624">
      <UserInfo>
        <DisplayName>Glenn Ledet</DisplayName>
        <AccountId>12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024BA1-9E8D-406D-AC48-B0B01DDB47A1}">
  <ds:schemaRefs>
    <ds:schemaRef ds:uri="873eca05-9823-42f0-ac11-9671edb44624"/>
    <ds:schemaRef ds:uri="f9cdf958-c761-4ab7-b699-47f4a2fffd8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716E72A-9433-4A57-A180-1BC0019D7552}">
  <ds:schemaRefs>
    <ds:schemaRef ds:uri="http://purl.org/dc/elements/1.1/"/>
    <ds:schemaRef ds:uri="http://schemas.microsoft.com/office/2006/metadata/properties"/>
    <ds:schemaRef ds:uri="http://purl.org/dc/terms/"/>
    <ds:schemaRef ds:uri="873eca05-9823-42f0-ac11-9671edb44624"/>
    <ds:schemaRef ds:uri="f9cdf958-c761-4ab7-b699-47f4a2fffd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E4F9EB2-6132-43AE-B30A-133EBBE0D3C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PRA_Presentation</Template>
  <TotalTime>11655</TotalTime>
  <Words>499</Words>
  <Application>Microsoft Office PowerPoint</Application>
  <PresentationFormat>Widescreen</PresentationFormat>
  <Paragraphs>108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rial</vt:lpstr>
      <vt:lpstr>Arial Narrow Regular</vt:lpstr>
      <vt:lpstr>Calibri</vt:lpstr>
      <vt:lpstr>Courier New</vt:lpstr>
      <vt:lpstr>Franklin Gothic Book</vt:lpstr>
      <vt:lpstr>Franklin Gothic Medium Cond</vt:lpstr>
      <vt:lpstr>Helvetica</vt:lpstr>
      <vt:lpstr>System Font Regular</vt:lpstr>
      <vt:lpstr>12_Custom Design</vt:lpstr>
      <vt:lpstr>think-cell Slide</vt:lpstr>
      <vt:lpstr>PowerPoint Presentation</vt:lpstr>
      <vt:lpstr>Calcasieu-Sabine Large-Scale Marsh and Hydrologic Restoration Project (CS-87)</vt:lpstr>
      <vt:lpstr>Project Purpose </vt:lpstr>
      <vt:lpstr>Project Features</vt:lpstr>
      <vt:lpstr>Project Benefits </vt:lpstr>
      <vt:lpstr>Multi-Program Synergies</vt:lpstr>
      <vt:lpstr>Multi-Program Synergies</vt:lpstr>
      <vt:lpstr>Four Project Tracks for Efficiency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Katie Freer</dc:creator>
  <cp:keywords/>
  <dc:description/>
  <cp:lastModifiedBy>Katie Freer</cp:lastModifiedBy>
  <cp:revision>126</cp:revision>
  <cp:lastPrinted>2023-02-14T17:52:51Z</cp:lastPrinted>
  <dcterms:created xsi:type="dcterms:W3CDTF">2020-05-15T05:05:58Z</dcterms:created>
  <dcterms:modified xsi:type="dcterms:W3CDTF">2023-06-09T18:37:3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D50161B5FDEFE4D93782C83BE2D3F6B</vt:lpwstr>
  </property>
  <property fmtid="{D5CDD505-2E9C-101B-9397-08002B2CF9AE}" pid="3" name="SavedOnce">
    <vt:lpwstr>true</vt:lpwstr>
  </property>
  <property fmtid="{D5CDD505-2E9C-101B-9397-08002B2CF9AE}" pid="4" name="MediaServiceImageTags">
    <vt:lpwstr/>
  </property>
</Properties>
</file>